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7" r:id="rId4"/>
  </p:sldMasterIdLst>
  <p:notesMasterIdLst>
    <p:notesMasterId r:id="rId22"/>
  </p:notesMasterIdLst>
  <p:handoutMasterIdLst>
    <p:handoutMasterId r:id="rId23"/>
  </p:handoutMasterIdLst>
  <p:sldIdLst>
    <p:sldId id="419" r:id="rId5"/>
    <p:sldId id="420" r:id="rId6"/>
    <p:sldId id="421" r:id="rId7"/>
    <p:sldId id="432" r:id="rId8"/>
    <p:sldId id="431" r:id="rId9"/>
    <p:sldId id="430" r:id="rId10"/>
    <p:sldId id="429" r:id="rId11"/>
    <p:sldId id="428" r:id="rId12"/>
    <p:sldId id="427" r:id="rId13"/>
    <p:sldId id="426" r:id="rId14"/>
    <p:sldId id="425" r:id="rId15"/>
    <p:sldId id="424" r:id="rId16"/>
    <p:sldId id="435" r:id="rId17"/>
    <p:sldId id="423" r:id="rId18"/>
    <p:sldId id="434" r:id="rId19"/>
    <p:sldId id="433" r:id="rId20"/>
    <p:sldId id="422" r:id="rId21"/>
  </p:sldIdLst>
  <p:sldSz cx="10288588" cy="10288588"/>
  <p:notesSz cx="6858000" cy="9144000"/>
  <p:defaultTextStyle>
    <a:defPPr>
      <a:defRPr lang="en-US"/>
    </a:defPPr>
    <a:lvl1pPr marL="0" algn="l" defTabSz="835742" rtl="0" eaLnBrk="1" latinLnBrk="0" hangingPunct="1">
      <a:defRPr sz="1645" kern="1200">
        <a:solidFill>
          <a:schemeClr val="tx1"/>
        </a:solidFill>
        <a:latin typeface="+mn-lt"/>
        <a:ea typeface="+mn-ea"/>
        <a:cs typeface="+mn-cs"/>
      </a:defRPr>
    </a:lvl1pPr>
    <a:lvl2pPr marL="417871" algn="l" defTabSz="835742" rtl="0" eaLnBrk="1" latinLnBrk="0" hangingPunct="1">
      <a:defRPr sz="1645" kern="1200">
        <a:solidFill>
          <a:schemeClr val="tx1"/>
        </a:solidFill>
        <a:latin typeface="+mn-lt"/>
        <a:ea typeface="+mn-ea"/>
        <a:cs typeface="+mn-cs"/>
      </a:defRPr>
    </a:lvl2pPr>
    <a:lvl3pPr marL="835742" algn="l" defTabSz="835742" rtl="0" eaLnBrk="1" latinLnBrk="0" hangingPunct="1">
      <a:defRPr sz="1645" kern="1200">
        <a:solidFill>
          <a:schemeClr val="tx1"/>
        </a:solidFill>
        <a:latin typeface="+mn-lt"/>
        <a:ea typeface="+mn-ea"/>
        <a:cs typeface="+mn-cs"/>
      </a:defRPr>
    </a:lvl3pPr>
    <a:lvl4pPr marL="1253613" algn="l" defTabSz="835742" rtl="0" eaLnBrk="1" latinLnBrk="0" hangingPunct="1">
      <a:defRPr sz="1645" kern="1200">
        <a:solidFill>
          <a:schemeClr val="tx1"/>
        </a:solidFill>
        <a:latin typeface="+mn-lt"/>
        <a:ea typeface="+mn-ea"/>
        <a:cs typeface="+mn-cs"/>
      </a:defRPr>
    </a:lvl4pPr>
    <a:lvl5pPr marL="1671484" algn="l" defTabSz="835742" rtl="0" eaLnBrk="1" latinLnBrk="0" hangingPunct="1">
      <a:defRPr sz="1645" kern="1200">
        <a:solidFill>
          <a:schemeClr val="tx1"/>
        </a:solidFill>
        <a:latin typeface="+mn-lt"/>
        <a:ea typeface="+mn-ea"/>
        <a:cs typeface="+mn-cs"/>
      </a:defRPr>
    </a:lvl5pPr>
    <a:lvl6pPr marL="2089356" algn="l" defTabSz="835742" rtl="0" eaLnBrk="1" latinLnBrk="0" hangingPunct="1">
      <a:defRPr sz="1645" kern="1200">
        <a:solidFill>
          <a:schemeClr val="tx1"/>
        </a:solidFill>
        <a:latin typeface="+mn-lt"/>
        <a:ea typeface="+mn-ea"/>
        <a:cs typeface="+mn-cs"/>
      </a:defRPr>
    </a:lvl6pPr>
    <a:lvl7pPr marL="2507226" algn="l" defTabSz="835742" rtl="0" eaLnBrk="1" latinLnBrk="0" hangingPunct="1">
      <a:defRPr sz="1645" kern="1200">
        <a:solidFill>
          <a:schemeClr val="tx1"/>
        </a:solidFill>
        <a:latin typeface="+mn-lt"/>
        <a:ea typeface="+mn-ea"/>
        <a:cs typeface="+mn-cs"/>
      </a:defRPr>
    </a:lvl7pPr>
    <a:lvl8pPr marL="2925098" algn="l" defTabSz="835742" rtl="0" eaLnBrk="1" latinLnBrk="0" hangingPunct="1">
      <a:defRPr sz="1645" kern="1200">
        <a:solidFill>
          <a:schemeClr val="tx1"/>
        </a:solidFill>
        <a:latin typeface="+mn-lt"/>
        <a:ea typeface="+mn-ea"/>
        <a:cs typeface="+mn-cs"/>
      </a:defRPr>
    </a:lvl8pPr>
    <a:lvl9pPr marL="3342968" algn="l" defTabSz="835742" rtl="0" eaLnBrk="1" latinLnBrk="0" hangingPunct="1">
      <a:defRPr sz="164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4496B"/>
    <a:srgbClr val="136A9F"/>
    <a:srgbClr val="59BA47"/>
    <a:srgbClr val="1F97D4"/>
    <a:srgbClr val="408147"/>
    <a:srgbClr val="BF8D2C"/>
    <a:srgbClr val="F89D2A"/>
    <a:srgbClr val="E01483"/>
    <a:srgbClr val="F26A2E"/>
    <a:srgbClr val="A31C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MasterView">
  <p:normalViewPr horzBarState="maximized">
    <p:restoredLeft sz="12367" autoAdjust="0"/>
    <p:restoredTop sz="94663"/>
  </p:normalViewPr>
  <p:slideViewPr>
    <p:cSldViewPr snapToGrid="0">
      <p:cViewPr varScale="1">
        <p:scale>
          <a:sx n="76" d="100"/>
          <a:sy n="76" d="100"/>
        </p:scale>
        <p:origin x="2472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AC8104-AEFA-494A-B753-66118361713F}" type="datetimeFigureOut">
              <a:rPr lang="nl-NL" smtClean="0"/>
              <a:t>3-9-2020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599BC0-A8B4-416A-9F80-38965DDB6550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084646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C812FB-F91B-43A8-93CC-C775265DBD4C}" type="datetimeFigureOut">
              <a:rPr lang="en-US" smtClean="0"/>
              <a:t>9/3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885950" y="1143000"/>
            <a:ext cx="30861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231667-F749-447D-B574-B24011B010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01598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35742" rtl="0" eaLnBrk="1" latinLnBrk="0" hangingPunct="1">
      <a:defRPr sz="1097" kern="1200">
        <a:solidFill>
          <a:schemeClr val="tx1"/>
        </a:solidFill>
        <a:latin typeface="+mn-lt"/>
        <a:ea typeface="+mn-ea"/>
        <a:cs typeface="+mn-cs"/>
      </a:defRPr>
    </a:lvl1pPr>
    <a:lvl2pPr marL="417871" algn="l" defTabSz="835742" rtl="0" eaLnBrk="1" latinLnBrk="0" hangingPunct="1">
      <a:defRPr sz="1097" kern="1200">
        <a:solidFill>
          <a:schemeClr val="tx1"/>
        </a:solidFill>
        <a:latin typeface="+mn-lt"/>
        <a:ea typeface="+mn-ea"/>
        <a:cs typeface="+mn-cs"/>
      </a:defRPr>
    </a:lvl2pPr>
    <a:lvl3pPr marL="835742" algn="l" defTabSz="835742" rtl="0" eaLnBrk="1" latinLnBrk="0" hangingPunct="1">
      <a:defRPr sz="1097" kern="1200">
        <a:solidFill>
          <a:schemeClr val="tx1"/>
        </a:solidFill>
        <a:latin typeface="+mn-lt"/>
        <a:ea typeface="+mn-ea"/>
        <a:cs typeface="+mn-cs"/>
      </a:defRPr>
    </a:lvl3pPr>
    <a:lvl4pPr marL="1253613" algn="l" defTabSz="835742" rtl="0" eaLnBrk="1" latinLnBrk="0" hangingPunct="1">
      <a:defRPr sz="1097" kern="1200">
        <a:solidFill>
          <a:schemeClr val="tx1"/>
        </a:solidFill>
        <a:latin typeface="+mn-lt"/>
        <a:ea typeface="+mn-ea"/>
        <a:cs typeface="+mn-cs"/>
      </a:defRPr>
    </a:lvl4pPr>
    <a:lvl5pPr marL="1671484" algn="l" defTabSz="835742" rtl="0" eaLnBrk="1" latinLnBrk="0" hangingPunct="1">
      <a:defRPr sz="1097" kern="1200">
        <a:solidFill>
          <a:schemeClr val="tx1"/>
        </a:solidFill>
        <a:latin typeface="+mn-lt"/>
        <a:ea typeface="+mn-ea"/>
        <a:cs typeface="+mn-cs"/>
      </a:defRPr>
    </a:lvl5pPr>
    <a:lvl6pPr marL="2089356" algn="l" defTabSz="835742" rtl="0" eaLnBrk="1" latinLnBrk="0" hangingPunct="1">
      <a:defRPr sz="1097" kern="1200">
        <a:solidFill>
          <a:schemeClr val="tx1"/>
        </a:solidFill>
        <a:latin typeface="+mn-lt"/>
        <a:ea typeface="+mn-ea"/>
        <a:cs typeface="+mn-cs"/>
      </a:defRPr>
    </a:lvl6pPr>
    <a:lvl7pPr marL="2507226" algn="l" defTabSz="835742" rtl="0" eaLnBrk="1" latinLnBrk="0" hangingPunct="1">
      <a:defRPr sz="1097" kern="1200">
        <a:solidFill>
          <a:schemeClr val="tx1"/>
        </a:solidFill>
        <a:latin typeface="+mn-lt"/>
        <a:ea typeface="+mn-ea"/>
        <a:cs typeface="+mn-cs"/>
      </a:defRPr>
    </a:lvl7pPr>
    <a:lvl8pPr marL="2925098" algn="l" defTabSz="835742" rtl="0" eaLnBrk="1" latinLnBrk="0" hangingPunct="1">
      <a:defRPr sz="1097" kern="1200">
        <a:solidFill>
          <a:schemeClr val="tx1"/>
        </a:solidFill>
        <a:latin typeface="+mn-lt"/>
        <a:ea typeface="+mn-ea"/>
        <a:cs typeface="+mn-cs"/>
      </a:defRPr>
    </a:lvl8pPr>
    <a:lvl9pPr marL="3342968" algn="l" defTabSz="835742" rtl="0" eaLnBrk="1" latinLnBrk="0" hangingPunct="1">
      <a:defRPr sz="109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jp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jp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jp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jp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jp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jp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jp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jp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jp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jp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jp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/>
          <p:nvPr userDrawn="1"/>
        </p:nvSpPr>
        <p:spPr>
          <a:xfrm rot="10800000">
            <a:off x="3870246" y="581362"/>
            <a:ext cx="6418341" cy="9125864"/>
          </a:xfrm>
          <a:custGeom>
            <a:avLst/>
            <a:gdLst>
              <a:gd name="connsiteX0" fmla="*/ 1871662 w 6672262"/>
              <a:gd name="connsiteY0" fmla="*/ 9486900 h 9486900"/>
              <a:gd name="connsiteX1" fmla="*/ 0 w 6672262"/>
              <a:gd name="connsiteY1" fmla="*/ 9486900 h 9486900"/>
              <a:gd name="connsiteX2" fmla="*/ 0 w 6672262"/>
              <a:gd name="connsiteY2" fmla="*/ 0 h 9486900"/>
              <a:gd name="connsiteX3" fmla="*/ 1871662 w 6672262"/>
              <a:gd name="connsiteY3" fmla="*/ 0 h 9486900"/>
              <a:gd name="connsiteX4" fmla="*/ 6672262 w 6672262"/>
              <a:gd name="connsiteY4" fmla="*/ 4743450 h 9486900"/>
              <a:gd name="connsiteX5" fmla="*/ 1871662 w 6672262"/>
              <a:gd name="connsiteY5" fmla="*/ 9486900 h 948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72262" h="9486900">
                <a:moveTo>
                  <a:pt x="1871662" y="9486900"/>
                </a:moveTo>
                <a:lnTo>
                  <a:pt x="0" y="9486900"/>
                </a:lnTo>
                <a:lnTo>
                  <a:pt x="0" y="0"/>
                </a:lnTo>
                <a:lnTo>
                  <a:pt x="1871662" y="0"/>
                </a:lnTo>
                <a:cubicBezTo>
                  <a:pt x="4522960" y="0"/>
                  <a:pt x="6672262" y="2123715"/>
                  <a:pt x="6672262" y="4743450"/>
                </a:cubicBezTo>
                <a:cubicBezTo>
                  <a:pt x="6672262" y="7363185"/>
                  <a:pt x="4522960" y="9486900"/>
                  <a:pt x="1871662" y="9486900"/>
                </a:cubicBezTo>
                <a:close/>
              </a:path>
            </a:pathLst>
          </a:custGeom>
          <a:noFill/>
          <a:ln w="6350">
            <a:solidFill>
              <a:srgbClr val="E523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200098" y="850129"/>
            <a:ext cx="6088491" cy="8588330"/>
          </a:xfrm>
          <a:custGeom>
            <a:avLst/>
            <a:gdLst>
              <a:gd name="connsiteX0" fmla="*/ 4338640 w 6329363"/>
              <a:gd name="connsiteY0" fmla="*/ 0 h 8928100"/>
              <a:gd name="connsiteX1" fmla="*/ 4424363 w 6329363"/>
              <a:gd name="connsiteY1" fmla="*/ 0 h 8928100"/>
              <a:gd name="connsiteX2" fmla="*/ 4432301 w 6329363"/>
              <a:gd name="connsiteY2" fmla="*/ 0 h 8928100"/>
              <a:gd name="connsiteX3" fmla="*/ 6329363 w 6329363"/>
              <a:gd name="connsiteY3" fmla="*/ 0 h 8928100"/>
              <a:gd name="connsiteX4" fmla="*/ 6329363 w 6329363"/>
              <a:gd name="connsiteY4" fmla="*/ 8928099 h 8928100"/>
              <a:gd name="connsiteX5" fmla="*/ 4432342 w 6329363"/>
              <a:gd name="connsiteY5" fmla="*/ 8928099 h 8928100"/>
              <a:gd name="connsiteX6" fmla="*/ 4432300 w 6329363"/>
              <a:gd name="connsiteY6" fmla="*/ 8928100 h 8928100"/>
              <a:gd name="connsiteX7" fmla="*/ 4424363 w 6329363"/>
              <a:gd name="connsiteY7" fmla="*/ 8928099 h 8928100"/>
              <a:gd name="connsiteX8" fmla="*/ 4338640 w 6329363"/>
              <a:gd name="connsiteY8" fmla="*/ 8928099 h 8928100"/>
              <a:gd name="connsiteX9" fmla="*/ 4338640 w 6329363"/>
              <a:gd name="connsiteY9" fmla="*/ 8925912 h 8928100"/>
              <a:gd name="connsiteX10" fmla="*/ 4196686 w 6329363"/>
              <a:gd name="connsiteY10" fmla="*/ 8922290 h 8928100"/>
              <a:gd name="connsiteX11" fmla="*/ 5757 w 6329363"/>
              <a:gd name="connsiteY11" fmla="*/ 4693769 h 8928100"/>
              <a:gd name="connsiteX12" fmla="*/ 0 w 6329363"/>
              <a:gd name="connsiteY12" fmla="*/ 4464050 h 8928100"/>
              <a:gd name="connsiteX13" fmla="*/ 5757 w 6329363"/>
              <a:gd name="connsiteY13" fmla="*/ 4234331 h 8928100"/>
              <a:gd name="connsiteX14" fmla="*/ 4196686 w 6329363"/>
              <a:gd name="connsiteY14" fmla="*/ 5809 h 8928100"/>
              <a:gd name="connsiteX15" fmla="*/ 4338640 w 6329363"/>
              <a:gd name="connsiteY15" fmla="*/ 2188 h 8928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329363" h="8928100">
                <a:moveTo>
                  <a:pt x="4338640" y="0"/>
                </a:moveTo>
                <a:lnTo>
                  <a:pt x="4424363" y="0"/>
                </a:lnTo>
                <a:lnTo>
                  <a:pt x="4432301" y="0"/>
                </a:lnTo>
                <a:lnTo>
                  <a:pt x="6329363" y="0"/>
                </a:lnTo>
                <a:lnTo>
                  <a:pt x="6329363" y="8928099"/>
                </a:lnTo>
                <a:lnTo>
                  <a:pt x="4432342" y="8928099"/>
                </a:lnTo>
                <a:cubicBezTo>
                  <a:pt x="4432328" y="8928099"/>
                  <a:pt x="4432314" y="8928100"/>
                  <a:pt x="4432300" y="8928100"/>
                </a:cubicBezTo>
                <a:lnTo>
                  <a:pt x="4424363" y="8928099"/>
                </a:lnTo>
                <a:lnTo>
                  <a:pt x="4338640" y="8928099"/>
                </a:lnTo>
                <a:lnTo>
                  <a:pt x="4338640" y="8925912"/>
                </a:lnTo>
                <a:lnTo>
                  <a:pt x="4196686" y="8922290"/>
                </a:lnTo>
                <a:cubicBezTo>
                  <a:pt x="1934396" y="8806586"/>
                  <a:pt x="120433" y="6976353"/>
                  <a:pt x="5757" y="4693769"/>
                </a:cubicBezTo>
                <a:lnTo>
                  <a:pt x="0" y="4464050"/>
                </a:lnTo>
                <a:lnTo>
                  <a:pt x="5757" y="4234331"/>
                </a:lnTo>
                <a:cubicBezTo>
                  <a:pt x="120433" y="1951748"/>
                  <a:pt x="1934396" y="121514"/>
                  <a:pt x="4196686" y="5809"/>
                </a:cubicBezTo>
                <a:lnTo>
                  <a:pt x="4338640" y="21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r">
              <a:buNone/>
              <a:defRPr sz="2800"/>
            </a:lvl1pPr>
          </a:lstStyle>
          <a:p>
            <a:r>
              <a:rPr lang="en-US" dirty="0" smtClean="0"/>
              <a:t>Click for imag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327672"/>
            <a:ext cx="2291850" cy="156929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9294093"/>
            <a:ext cx="3539872" cy="681878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387850" y="9156700"/>
            <a:ext cx="3539873" cy="0"/>
          </a:xfrm>
          <a:prstGeom prst="line">
            <a:avLst/>
          </a:prstGeom>
          <a:ln w="28575">
            <a:solidFill>
              <a:srgbClr val="1D3769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2601" y="590430"/>
            <a:ext cx="1043781" cy="1043781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87850" y="7226300"/>
            <a:ext cx="3540125" cy="17399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 baseline="0"/>
            </a:lvl1pPr>
          </a:lstStyle>
          <a:p>
            <a:r>
              <a:rPr lang="en-US" dirty="0" smtClean="0"/>
              <a:t>Click for logo</a:t>
            </a:r>
            <a:r>
              <a:rPr lang="el-GR" dirty="0" smtClean="0"/>
              <a:t> &amp; </a:t>
            </a:r>
            <a:r>
              <a:rPr lang="en-US" dirty="0" smtClean="0"/>
              <a:t>make it</a:t>
            </a:r>
            <a:br>
              <a:rPr lang="en-US" dirty="0" smtClean="0"/>
            </a:br>
            <a:r>
              <a:rPr lang="en-US" dirty="0" smtClean="0"/>
              <a:t>fit in the crop bo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23908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al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/>
          <p:nvPr userDrawn="1"/>
        </p:nvSpPr>
        <p:spPr>
          <a:xfrm rot="10800000">
            <a:off x="3870246" y="581362"/>
            <a:ext cx="6418341" cy="9125864"/>
          </a:xfrm>
          <a:custGeom>
            <a:avLst/>
            <a:gdLst>
              <a:gd name="connsiteX0" fmla="*/ 1871662 w 6672262"/>
              <a:gd name="connsiteY0" fmla="*/ 9486900 h 9486900"/>
              <a:gd name="connsiteX1" fmla="*/ 0 w 6672262"/>
              <a:gd name="connsiteY1" fmla="*/ 9486900 h 9486900"/>
              <a:gd name="connsiteX2" fmla="*/ 0 w 6672262"/>
              <a:gd name="connsiteY2" fmla="*/ 0 h 9486900"/>
              <a:gd name="connsiteX3" fmla="*/ 1871662 w 6672262"/>
              <a:gd name="connsiteY3" fmla="*/ 0 h 9486900"/>
              <a:gd name="connsiteX4" fmla="*/ 6672262 w 6672262"/>
              <a:gd name="connsiteY4" fmla="*/ 4743450 h 9486900"/>
              <a:gd name="connsiteX5" fmla="*/ 1871662 w 6672262"/>
              <a:gd name="connsiteY5" fmla="*/ 9486900 h 948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72262" h="9486900">
                <a:moveTo>
                  <a:pt x="1871662" y="9486900"/>
                </a:moveTo>
                <a:lnTo>
                  <a:pt x="0" y="9486900"/>
                </a:lnTo>
                <a:lnTo>
                  <a:pt x="0" y="0"/>
                </a:lnTo>
                <a:lnTo>
                  <a:pt x="1871662" y="0"/>
                </a:lnTo>
                <a:cubicBezTo>
                  <a:pt x="4522960" y="0"/>
                  <a:pt x="6672262" y="2123715"/>
                  <a:pt x="6672262" y="4743450"/>
                </a:cubicBezTo>
                <a:cubicBezTo>
                  <a:pt x="6672262" y="7363185"/>
                  <a:pt x="4522960" y="9486900"/>
                  <a:pt x="1871662" y="9486900"/>
                </a:cubicBezTo>
                <a:close/>
              </a:path>
            </a:pathLst>
          </a:custGeom>
          <a:noFill/>
          <a:ln w="6350">
            <a:solidFill>
              <a:srgbClr val="E014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200098" y="850129"/>
            <a:ext cx="6088491" cy="8588330"/>
          </a:xfrm>
          <a:custGeom>
            <a:avLst/>
            <a:gdLst>
              <a:gd name="connsiteX0" fmla="*/ 4338640 w 6329363"/>
              <a:gd name="connsiteY0" fmla="*/ 0 h 8928100"/>
              <a:gd name="connsiteX1" fmla="*/ 4424363 w 6329363"/>
              <a:gd name="connsiteY1" fmla="*/ 0 h 8928100"/>
              <a:gd name="connsiteX2" fmla="*/ 4432301 w 6329363"/>
              <a:gd name="connsiteY2" fmla="*/ 0 h 8928100"/>
              <a:gd name="connsiteX3" fmla="*/ 6329363 w 6329363"/>
              <a:gd name="connsiteY3" fmla="*/ 0 h 8928100"/>
              <a:gd name="connsiteX4" fmla="*/ 6329363 w 6329363"/>
              <a:gd name="connsiteY4" fmla="*/ 8928099 h 8928100"/>
              <a:gd name="connsiteX5" fmla="*/ 4432342 w 6329363"/>
              <a:gd name="connsiteY5" fmla="*/ 8928099 h 8928100"/>
              <a:gd name="connsiteX6" fmla="*/ 4432300 w 6329363"/>
              <a:gd name="connsiteY6" fmla="*/ 8928100 h 8928100"/>
              <a:gd name="connsiteX7" fmla="*/ 4424363 w 6329363"/>
              <a:gd name="connsiteY7" fmla="*/ 8928099 h 8928100"/>
              <a:gd name="connsiteX8" fmla="*/ 4338640 w 6329363"/>
              <a:gd name="connsiteY8" fmla="*/ 8928099 h 8928100"/>
              <a:gd name="connsiteX9" fmla="*/ 4338640 w 6329363"/>
              <a:gd name="connsiteY9" fmla="*/ 8925912 h 8928100"/>
              <a:gd name="connsiteX10" fmla="*/ 4196686 w 6329363"/>
              <a:gd name="connsiteY10" fmla="*/ 8922290 h 8928100"/>
              <a:gd name="connsiteX11" fmla="*/ 5757 w 6329363"/>
              <a:gd name="connsiteY11" fmla="*/ 4693769 h 8928100"/>
              <a:gd name="connsiteX12" fmla="*/ 0 w 6329363"/>
              <a:gd name="connsiteY12" fmla="*/ 4464050 h 8928100"/>
              <a:gd name="connsiteX13" fmla="*/ 5757 w 6329363"/>
              <a:gd name="connsiteY13" fmla="*/ 4234331 h 8928100"/>
              <a:gd name="connsiteX14" fmla="*/ 4196686 w 6329363"/>
              <a:gd name="connsiteY14" fmla="*/ 5809 h 8928100"/>
              <a:gd name="connsiteX15" fmla="*/ 4338640 w 6329363"/>
              <a:gd name="connsiteY15" fmla="*/ 2188 h 8928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329363" h="8928100">
                <a:moveTo>
                  <a:pt x="4338640" y="0"/>
                </a:moveTo>
                <a:lnTo>
                  <a:pt x="4424363" y="0"/>
                </a:lnTo>
                <a:lnTo>
                  <a:pt x="4432301" y="0"/>
                </a:lnTo>
                <a:lnTo>
                  <a:pt x="6329363" y="0"/>
                </a:lnTo>
                <a:lnTo>
                  <a:pt x="6329363" y="8928099"/>
                </a:lnTo>
                <a:lnTo>
                  <a:pt x="4432342" y="8928099"/>
                </a:lnTo>
                <a:cubicBezTo>
                  <a:pt x="4432328" y="8928099"/>
                  <a:pt x="4432314" y="8928100"/>
                  <a:pt x="4432300" y="8928100"/>
                </a:cubicBezTo>
                <a:lnTo>
                  <a:pt x="4424363" y="8928099"/>
                </a:lnTo>
                <a:lnTo>
                  <a:pt x="4338640" y="8928099"/>
                </a:lnTo>
                <a:lnTo>
                  <a:pt x="4338640" y="8925912"/>
                </a:lnTo>
                <a:lnTo>
                  <a:pt x="4196686" y="8922290"/>
                </a:lnTo>
                <a:cubicBezTo>
                  <a:pt x="1934396" y="8806586"/>
                  <a:pt x="120433" y="6976353"/>
                  <a:pt x="5757" y="4693769"/>
                </a:cubicBezTo>
                <a:lnTo>
                  <a:pt x="0" y="4464050"/>
                </a:lnTo>
                <a:lnTo>
                  <a:pt x="5757" y="4234331"/>
                </a:lnTo>
                <a:cubicBezTo>
                  <a:pt x="120433" y="1951748"/>
                  <a:pt x="1934396" y="121514"/>
                  <a:pt x="4196686" y="5809"/>
                </a:cubicBezTo>
                <a:lnTo>
                  <a:pt x="4338640" y="21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r">
              <a:buNone/>
              <a:defRPr sz="2800"/>
            </a:lvl1pPr>
          </a:lstStyle>
          <a:p>
            <a:r>
              <a:rPr lang="en-US" dirty="0" smtClean="0"/>
              <a:t>Click for imag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327672"/>
            <a:ext cx="2291850" cy="156929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9294093"/>
            <a:ext cx="3539872" cy="681878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387850" y="9156700"/>
            <a:ext cx="3539873" cy="0"/>
          </a:xfrm>
          <a:prstGeom prst="line">
            <a:avLst/>
          </a:prstGeom>
          <a:ln w="28575">
            <a:solidFill>
              <a:srgbClr val="1D3769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2601" y="590430"/>
            <a:ext cx="1043781" cy="1043781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87850" y="7226300"/>
            <a:ext cx="3540125" cy="17399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/>
            </a:lvl1pPr>
          </a:lstStyle>
          <a:p>
            <a:r>
              <a:rPr lang="en-US" dirty="0" smtClean="0"/>
              <a:t>Click for logo</a:t>
            </a:r>
            <a:r>
              <a:rPr lang="el-GR" dirty="0" smtClean="0"/>
              <a:t> &amp; </a:t>
            </a:r>
            <a:r>
              <a:rPr lang="en-US" dirty="0" smtClean="0"/>
              <a:t>make it</a:t>
            </a:r>
            <a:br>
              <a:rPr lang="en-US" dirty="0" smtClean="0"/>
            </a:br>
            <a:r>
              <a:rPr lang="en-US" dirty="0" smtClean="0"/>
              <a:t>fit in the crop bo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24313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al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/>
          <p:nvPr userDrawn="1"/>
        </p:nvSpPr>
        <p:spPr>
          <a:xfrm rot="10800000">
            <a:off x="3870246" y="581362"/>
            <a:ext cx="6418341" cy="9125864"/>
          </a:xfrm>
          <a:custGeom>
            <a:avLst/>
            <a:gdLst>
              <a:gd name="connsiteX0" fmla="*/ 1871662 w 6672262"/>
              <a:gd name="connsiteY0" fmla="*/ 9486900 h 9486900"/>
              <a:gd name="connsiteX1" fmla="*/ 0 w 6672262"/>
              <a:gd name="connsiteY1" fmla="*/ 9486900 h 9486900"/>
              <a:gd name="connsiteX2" fmla="*/ 0 w 6672262"/>
              <a:gd name="connsiteY2" fmla="*/ 0 h 9486900"/>
              <a:gd name="connsiteX3" fmla="*/ 1871662 w 6672262"/>
              <a:gd name="connsiteY3" fmla="*/ 0 h 9486900"/>
              <a:gd name="connsiteX4" fmla="*/ 6672262 w 6672262"/>
              <a:gd name="connsiteY4" fmla="*/ 4743450 h 9486900"/>
              <a:gd name="connsiteX5" fmla="*/ 1871662 w 6672262"/>
              <a:gd name="connsiteY5" fmla="*/ 9486900 h 948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72262" h="9486900">
                <a:moveTo>
                  <a:pt x="1871662" y="9486900"/>
                </a:moveTo>
                <a:lnTo>
                  <a:pt x="0" y="9486900"/>
                </a:lnTo>
                <a:lnTo>
                  <a:pt x="0" y="0"/>
                </a:lnTo>
                <a:lnTo>
                  <a:pt x="1871662" y="0"/>
                </a:lnTo>
                <a:cubicBezTo>
                  <a:pt x="4522960" y="0"/>
                  <a:pt x="6672262" y="2123715"/>
                  <a:pt x="6672262" y="4743450"/>
                </a:cubicBezTo>
                <a:cubicBezTo>
                  <a:pt x="6672262" y="7363185"/>
                  <a:pt x="4522960" y="9486900"/>
                  <a:pt x="1871662" y="9486900"/>
                </a:cubicBezTo>
                <a:close/>
              </a:path>
            </a:pathLst>
          </a:custGeom>
          <a:noFill/>
          <a:ln w="6350">
            <a:solidFill>
              <a:srgbClr val="F89D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200098" y="850129"/>
            <a:ext cx="6088491" cy="8588330"/>
          </a:xfrm>
          <a:custGeom>
            <a:avLst/>
            <a:gdLst>
              <a:gd name="connsiteX0" fmla="*/ 4338640 w 6329363"/>
              <a:gd name="connsiteY0" fmla="*/ 0 h 8928100"/>
              <a:gd name="connsiteX1" fmla="*/ 4424363 w 6329363"/>
              <a:gd name="connsiteY1" fmla="*/ 0 h 8928100"/>
              <a:gd name="connsiteX2" fmla="*/ 4432301 w 6329363"/>
              <a:gd name="connsiteY2" fmla="*/ 0 h 8928100"/>
              <a:gd name="connsiteX3" fmla="*/ 6329363 w 6329363"/>
              <a:gd name="connsiteY3" fmla="*/ 0 h 8928100"/>
              <a:gd name="connsiteX4" fmla="*/ 6329363 w 6329363"/>
              <a:gd name="connsiteY4" fmla="*/ 8928099 h 8928100"/>
              <a:gd name="connsiteX5" fmla="*/ 4432342 w 6329363"/>
              <a:gd name="connsiteY5" fmla="*/ 8928099 h 8928100"/>
              <a:gd name="connsiteX6" fmla="*/ 4432300 w 6329363"/>
              <a:gd name="connsiteY6" fmla="*/ 8928100 h 8928100"/>
              <a:gd name="connsiteX7" fmla="*/ 4424363 w 6329363"/>
              <a:gd name="connsiteY7" fmla="*/ 8928099 h 8928100"/>
              <a:gd name="connsiteX8" fmla="*/ 4338640 w 6329363"/>
              <a:gd name="connsiteY8" fmla="*/ 8928099 h 8928100"/>
              <a:gd name="connsiteX9" fmla="*/ 4338640 w 6329363"/>
              <a:gd name="connsiteY9" fmla="*/ 8925912 h 8928100"/>
              <a:gd name="connsiteX10" fmla="*/ 4196686 w 6329363"/>
              <a:gd name="connsiteY10" fmla="*/ 8922290 h 8928100"/>
              <a:gd name="connsiteX11" fmla="*/ 5757 w 6329363"/>
              <a:gd name="connsiteY11" fmla="*/ 4693769 h 8928100"/>
              <a:gd name="connsiteX12" fmla="*/ 0 w 6329363"/>
              <a:gd name="connsiteY12" fmla="*/ 4464050 h 8928100"/>
              <a:gd name="connsiteX13" fmla="*/ 5757 w 6329363"/>
              <a:gd name="connsiteY13" fmla="*/ 4234331 h 8928100"/>
              <a:gd name="connsiteX14" fmla="*/ 4196686 w 6329363"/>
              <a:gd name="connsiteY14" fmla="*/ 5809 h 8928100"/>
              <a:gd name="connsiteX15" fmla="*/ 4338640 w 6329363"/>
              <a:gd name="connsiteY15" fmla="*/ 2188 h 8928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329363" h="8928100">
                <a:moveTo>
                  <a:pt x="4338640" y="0"/>
                </a:moveTo>
                <a:lnTo>
                  <a:pt x="4424363" y="0"/>
                </a:lnTo>
                <a:lnTo>
                  <a:pt x="4432301" y="0"/>
                </a:lnTo>
                <a:lnTo>
                  <a:pt x="6329363" y="0"/>
                </a:lnTo>
                <a:lnTo>
                  <a:pt x="6329363" y="8928099"/>
                </a:lnTo>
                <a:lnTo>
                  <a:pt x="4432342" y="8928099"/>
                </a:lnTo>
                <a:cubicBezTo>
                  <a:pt x="4432328" y="8928099"/>
                  <a:pt x="4432314" y="8928100"/>
                  <a:pt x="4432300" y="8928100"/>
                </a:cubicBezTo>
                <a:lnTo>
                  <a:pt x="4424363" y="8928099"/>
                </a:lnTo>
                <a:lnTo>
                  <a:pt x="4338640" y="8928099"/>
                </a:lnTo>
                <a:lnTo>
                  <a:pt x="4338640" y="8925912"/>
                </a:lnTo>
                <a:lnTo>
                  <a:pt x="4196686" y="8922290"/>
                </a:lnTo>
                <a:cubicBezTo>
                  <a:pt x="1934396" y="8806586"/>
                  <a:pt x="120433" y="6976353"/>
                  <a:pt x="5757" y="4693769"/>
                </a:cubicBezTo>
                <a:lnTo>
                  <a:pt x="0" y="4464050"/>
                </a:lnTo>
                <a:lnTo>
                  <a:pt x="5757" y="4234331"/>
                </a:lnTo>
                <a:cubicBezTo>
                  <a:pt x="120433" y="1951748"/>
                  <a:pt x="1934396" y="121514"/>
                  <a:pt x="4196686" y="5809"/>
                </a:cubicBezTo>
                <a:lnTo>
                  <a:pt x="4338640" y="21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r">
              <a:buNone/>
              <a:defRPr sz="2800"/>
            </a:lvl1pPr>
          </a:lstStyle>
          <a:p>
            <a:r>
              <a:rPr lang="en-US" dirty="0" smtClean="0"/>
              <a:t>Click for imag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327672"/>
            <a:ext cx="2291850" cy="156929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9294093"/>
            <a:ext cx="3539872" cy="681878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387850" y="9156700"/>
            <a:ext cx="3539873" cy="0"/>
          </a:xfrm>
          <a:prstGeom prst="line">
            <a:avLst/>
          </a:prstGeom>
          <a:ln w="28575">
            <a:solidFill>
              <a:srgbClr val="1D3769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2601" y="590430"/>
            <a:ext cx="1043781" cy="1043781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87850" y="7226300"/>
            <a:ext cx="3540125" cy="17399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/>
            </a:lvl1pPr>
          </a:lstStyle>
          <a:p>
            <a:r>
              <a:rPr lang="en-US" dirty="0" smtClean="0"/>
              <a:t>Click for logo</a:t>
            </a:r>
            <a:r>
              <a:rPr lang="el-GR" dirty="0" smtClean="0"/>
              <a:t> &amp; </a:t>
            </a:r>
            <a:r>
              <a:rPr lang="en-US" dirty="0" smtClean="0"/>
              <a:t>make it</a:t>
            </a:r>
            <a:br>
              <a:rPr lang="en-US" dirty="0" smtClean="0"/>
            </a:br>
            <a:r>
              <a:rPr lang="en-US" dirty="0" smtClean="0"/>
              <a:t>fit in the crop bo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80265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al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/>
          <p:nvPr userDrawn="1"/>
        </p:nvSpPr>
        <p:spPr>
          <a:xfrm rot="10800000">
            <a:off x="3870246" y="581362"/>
            <a:ext cx="6418341" cy="9125864"/>
          </a:xfrm>
          <a:custGeom>
            <a:avLst/>
            <a:gdLst>
              <a:gd name="connsiteX0" fmla="*/ 1871662 w 6672262"/>
              <a:gd name="connsiteY0" fmla="*/ 9486900 h 9486900"/>
              <a:gd name="connsiteX1" fmla="*/ 0 w 6672262"/>
              <a:gd name="connsiteY1" fmla="*/ 9486900 h 9486900"/>
              <a:gd name="connsiteX2" fmla="*/ 0 w 6672262"/>
              <a:gd name="connsiteY2" fmla="*/ 0 h 9486900"/>
              <a:gd name="connsiteX3" fmla="*/ 1871662 w 6672262"/>
              <a:gd name="connsiteY3" fmla="*/ 0 h 9486900"/>
              <a:gd name="connsiteX4" fmla="*/ 6672262 w 6672262"/>
              <a:gd name="connsiteY4" fmla="*/ 4743450 h 9486900"/>
              <a:gd name="connsiteX5" fmla="*/ 1871662 w 6672262"/>
              <a:gd name="connsiteY5" fmla="*/ 9486900 h 948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72262" h="9486900">
                <a:moveTo>
                  <a:pt x="1871662" y="9486900"/>
                </a:moveTo>
                <a:lnTo>
                  <a:pt x="0" y="9486900"/>
                </a:lnTo>
                <a:lnTo>
                  <a:pt x="0" y="0"/>
                </a:lnTo>
                <a:lnTo>
                  <a:pt x="1871662" y="0"/>
                </a:lnTo>
                <a:cubicBezTo>
                  <a:pt x="4522960" y="0"/>
                  <a:pt x="6672262" y="2123715"/>
                  <a:pt x="6672262" y="4743450"/>
                </a:cubicBezTo>
                <a:cubicBezTo>
                  <a:pt x="6672262" y="7363185"/>
                  <a:pt x="4522960" y="9486900"/>
                  <a:pt x="1871662" y="9486900"/>
                </a:cubicBezTo>
                <a:close/>
              </a:path>
            </a:pathLst>
          </a:custGeom>
          <a:noFill/>
          <a:ln w="6350">
            <a:solidFill>
              <a:srgbClr val="BF8D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200098" y="850129"/>
            <a:ext cx="6088491" cy="8588330"/>
          </a:xfrm>
          <a:custGeom>
            <a:avLst/>
            <a:gdLst>
              <a:gd name="connsiteX0" fmla="*/ 4338640 w 6329363"/>
              <a:gd name="connsiteY0" fmla="*/ 0 h 8928100"/>
              <a:gd name="connsiteX1" fmla="*/ 4424363 w 6329363"/>
              <a:gd name="connsiteY1" fmla="*/ 0 h 8928100"/>
              <a:gd name="connsiteX2" fmla="*/ 4432301 w 6329363"/>
              <a:gd name="connsiteY2" fmla="*/ 0 h 8928100"/>
              <a:gd name="connsiteX3" fmla="*/ 6329363 w 6329363"/>
              <a:gd name="connsiteY3" fmla="*/ 0 h 8928100"/>
              <a:gd name="connsiteX4" fmla="*/ 6329363 w 6329363"/>
              <a:gd name="connsiteY4" fmla="*/ 8928099 h 8928100"/>
              <a:gd name="connsiteX5" fmla="*/ 4432342 w 6329363"/>
              <a:gd name="connsiteY5" fmla="*/ 8928099 h 8928100"/>
              <a:gd name="connsiteX6" fmla="*/ 4432300 w 6329363"/>
              <a:gd name="connsiteY6" fmla="*/ 8928100 h 8928100"/>
              <a:gd name="connsiteX7" fmla="*/ 4424363 w 6329363"/>
              <a:gd name="connsiteY7" fmla="*/ 8928099 h 8928100"/>
              <a:gd name="connsiteX8" fmla="*/ 4338640 w 6329363"/>
              <a:gd name="connsiteY8" fmla="*/ 8928099 h 8928100"/>
              <a:gd name="connsiteX9" fmla="*/ 4338640 w 6329363"/>
              <a:gd name="connsiteY9" fmla="*/ 8925912 h 8928100"/>
              <a:gd name="connsiteX10" fmla="*/ 4196686 w 6329363"/>
              <a:gd name="connsiteY10" fmla="*/ 8922290 h 8928100"/>
              <a:gd name="connsiteX11" fmla="*/ 5757 w 6329363"/>
              <a:gd name="connsiteY11" fmla="*/ 4693769 h 8928100"/>
              <a:gd name="connsiteX12" fmla="*/ 0 w 6329363"/>
              <a:gd name="connsiteY12" fmla="*/ 4464050 h 8928100"/>
              <a:gd name="connsiteX13" fmla="*/ 5757 w 6329363"/>
              <a:gd name="connsiteY13" fmla="*/ 4234331 h 8928100"/>
              <a:gd name="connsiteX14" fmla="*/ 4196686 w 6329363"/>
              <a:gd name="connsiteY14" fmla="*/ 5809 h 8928100"/>
              <a:gd name="connsiteX15" fmla="*/ 4338640 w 6329363"/>
              <a:gd name="connsiteY15" fmla="*/ 2188 h 8928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329363" h="8928100">
                <a:moveTo>
                  <a:pt x="4338640" y="0"/>
                </a:moveTo>
                <a:lnTo>
                  <a:pt x="4424363" y="0"/>
                </a:lnTo>
                <a:lnTo>
                  <a:pt x="4432301" y="0"/>
                </a:lnTo>
                <a:lnTo>
                  <a:pt x="6329363" y="0"/>
                </a:lnTo>
                <a:lnTo>
                  <a:pt x="6329363" y="8928099"/>
                </a:lnTo>
                <a:lnTo>
                  <a:pt x="4432342" y="8928099"/>
                </a:lnTo>
                <a:cubicBezTo>
                  <a:pt x="4432328" y="8928099"/>
                  <a:pt x="4432314" y="8928100"/>
                  <a:pt x="4432300" y="8928100"/>
                </a:cubicBezTo>
                <a:lnTo>
                  <a:pt x="4424363" y="8928099"/>
                </a:lnTo>
                <a:lnTo>
                  <a:pt x="4338640" y="8928099"/>
                </a:lnTo>
                <a:lnTo>
                  <a:pt x="4338640" y="8925912"/>
                </a:lnTo>
                <a:lnTo>
                  <a:pt x="4196686" y="8922290"/>
                </a:lnTo>
                <a:cubicBezTo>
                  <a:pt x="1934396" y="8806586"/>
                  <a:pt x="120433" y="6976353"/>
                  <a:pt x="5757" y="4693769"/>
                </a:cubicBezTo>
                <a:lnTo>
                  <a:pt x="0" y="4464050"/>
                </a:lnTo>
                <a:lnTo>
                  <a:pt x="5757" y="4234331"/>
                </a:lnTo>
                <a:cubicBezTo>
                  <a:pt x="120433" y="1951748"/>
                  <a:pt x="1934396" y="121514"/>
                  <a:pt x="4196686" y="5809"/>
                </a:cubicBezTo>
                <a:lnTo>
                  <a:pt x="4338640" y="21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r">
              <a:buNone/>
              <a:defRPr sz="2800"/>
            </a:lvl1pPr>
          </a:lstStyle>
          <a:p>
            <a:r>
              <a:rPr lang="en-US" dirty="0" smtClean="0"/>
              <a:t>Click for imag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327672"/>
            <a:ext cx="2291850" cy="156929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9294093"/>
            <a:ext cx="3539872" cy="681878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387850" y="9156700"/>
            <a:ext cx="3539873" cy="0"/>
          </a:xfrm>
          <a:prstGeom prst="line">
            <a:avLst/>
          </a:prstGeom>
          <a:ln w="28575">
            <a:solidFill>
              <a:srgbClr val="1D3769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2601" y="590430"/>
            <a:ext cx="1043781" cy="1043781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87850" y="7226300"/>
            <a:ext cx="3540125" cy="17399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/>
            </a:lvl1pPr>
          </a:lstStyle>
          <a:p>
            <a:r>
              <a:rPr lang="en-US" dirty="0" smtClean="0"/>
              <a:t>Click for logo</a:t>
            </a:r>
            <a:r>
              <a:rPr lang="el-GR" dirty="0" smtClean="0"/>
              <a:t> &amp; </a:t>
            </a:r>
            <a:r>
              <a:rPr lang="en-US" dirty="0" smtClean="0"/>
              <a:t>make it</a:t>
            </a:r>
            <a:br>
              <a:rPr lang="en-US" dirty="0" smtClean="0"/>
            </a:br>
            <a:r>
              <a:rPr lang="en-US" dirty="0" smtClean="0"/>
              <a:t>fit in the crop bo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3882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al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/>
          <p:nvPr userDrawn="1"/>
        </p:nvSpPr>
        <p:spPr>
          <a:xfrm rot="10800000">
            <a:off x="3870246" y="581362"/>
            <a:ext cx="6418341" cy="9125864"/>
          </a:xfrm>
          <a:custGeom>
            <a:avLst/>
            <a:gdLst>
              <a:gd name="connsiteX0" fmla="*/ 1871662 w 6672262"/>
              <a:gd name="connsiteY0" fmla="*/ 9486900 h 9486900"/>
              <a:gd name="connsiteX1" fmla="*/ 0 w 6672262"/>
              <a:gd name="connsiteY1" fmla="*/ 9486900 h 9486900"/>
              <a:gd name="connsiteX2" fmla="*/ 0 w 6672262"/>
              <a:gd name="connsiteY2" fmla="*/ 0 h 9486900"/>
              <a:gd name="connsiteX3" fmla="*/ 1871662 w 6672262"/>
              <a:gd name="connsiteY3" fmla="*/ 0 h 9486900"/>
              <a:gd name="connsiteX4" fmla="*/ 6672262 w 6672262"/>
              <a:gd name="connsiteY4" fmla="*/ 4743450 h 9486900"/>
              <a:gd name="connsiteX5" fmla="*/ 1871662 w 6672262"/>
              <a:gd name="connsiteY5" fmla="*/ 9486900 h 948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72262" h="9486900">
                <a:moveTo>
                  <a:pt x="1871662" y="9486900"/>
                </a:moveTo>
                <a:lnTo>
                  <a:pt x="0" y="9486900"/>
                </a:lnTo>
                <a:lnTo>
                  <a:pt x="0" y="0"/>
                </a:lnTo>
                <a:lnTo>
                  <a:pt x="1871662" y="0"/>
                </a:lnTo>
                <a:cubicBezTo>
                  <a:pt x="4522960" y="0"/>
                  <a:pt x="6672262" y="2123715"/>
                  <a:pt x="6672262" y="4743450"/>
                </a:cubicBezTo>
                <a:cubicBezTo>
                  <a:pt x="6672262" y="7363185"/>
                  <a:pt x="4522960" y="9486900"/>
                  <a:pt x="1871662" y="9486900"/>
                </a:cubicBezTo>
                <a:close/>
              </a:path>
            </a:pathLst>
          </a:custGeom>
          <a:noFill/>
          <a:ln w="6350">
            <a:solidFill>
              <a:srgbClr val="4081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200098" y="850129"/>
            <a:ext cx="6088491" cy="8588330"/>
          </a:xfrm>
          <a:custGeom>
            <a:avLst/>
            <a:gdLst>
              <a:gd name="connsiteX0" fmla="*/ 4338640 w 6329363"/>
              <a:gd name="connsiteY0" fmla="*/ 0 h 8928100"/>
              <a:gd name="connsiteX1" fmla="*/ 4424363 w 6329363"/>
              <a:gd name="connsiteY1" fmla="*/ 0 h 8928100"/>
              <a:gd name="connsiteX2" fmla="*/ 4432301 w 6329363"/>
              <a:gd name="connsiteY2" fmla="*/ 0 h 8928100"/>
              <a:gd name="connsiteX3" fmla="*/ 6329363 w 6329363"/>
              <a:gd name="connsiteY3" fmla="*/ 0 h 8928100"/>
              <a:gd name="connsiteX4" fmla="*/ 6329363 w 6329363"/>
              <a:gd name="connsiteY4" fmla="*/ 8928099 h 8928100"/>
              <a:gd name="connsiteX5" fmla="*/ 4432342 w 6329363"/>
              <a:gd name="connsiteY5" fmla="*/ 8928099 h 8928100"/>
              <a:gd name="connsiteX6" fmla="*/ 4432300 w 6329363"/>
              <a:gd name="connsiteY6" fmla="*/ 8928100 h 8928100"/>
              <a:gd name="connsiteX7" fmla="*/ 4424363 w 6329363"/>
              <a:gd name="connsiteY7" fmla="*/ 8928099 h 8928100"/>
              <a:gd name="connsiteX8" fmla="*/ 4338640 w 6329363"/>
              <a:gd name="connsiteY8" fmla="*/ 8928099 h 8928100"/>
              <a:gd name="connsiteX9" fmla="*/ 4338640 w 6329363"/>
              <a:gd name="connsiteY9" fmla="*/ 8925912 h 8928100"/>
              <a:gd name="connsiteX10" fmla="*/ 4196686 w 6329363"/>
              <a:gd name="connsiteY10" fmla="*/ 8922290 h 8928100"/>
              <a:gd name="connsiteX11" fmla="*/ 5757 w 6329363"/>
              <a:gd name="connsiteY11" fmla="*/ 4693769 h 8928100"/>
              <a:gd name="connsiteX12" fmla="*/ 0 w 6329363"/>
              <a:gd name="connsiteY12" fmla="*/ 4464050 h 8928100"/>
              <a:gd name="connsiteX13" fmla="*/ 5757 w 6329363"/>
              <a:gd name="connsiteY13" fmla="*/ 4234331 h 8928100"/>
              <a:gd name="connsiteX14" fmla="*/ 4196686 w 6329363"/>
              <a:gd name="connsiteY14" fmla="*/ 5809 h 8928100"/>
              <a:gd name="connsiteX15" fmla="*/ 4338640 w 6329363"/>
              <a:gd name="connsiteY15" fmla="*/ 2188 h 8928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329363" h="8928100">
                <a:moveTo>
                  <a:pt x="4338640" y="0"/>
                </a:moveTo>
                <a:lnTo>
                  <a:pt x="4424363" y="0"/>
                </a:lnTo>
                <a:lnTo>
                  <a:pt x="4432301" y="0"/>
                </a:lnTo>
                <a:lnTo>
                  <a:pt x="6329363" y="0"/>
                </a:lnTo>
                <a:lnTo>
                  <a:pt x="6329363" y="8928099"/>
                </a:lnTo>
                <a:lnTo>
                  <a:pt x="4432342" y="8928099"/>
                </a:lnTo>
                <a:cubicBezTo>
                  <a:pt x="4432328" y="8928099"/>
                  <a:pt x="4432314" y="8928100"/>
                  <a:pt x="4432300" y="8928100"/>
                </a:cubicBezTo>
                <a:lnTo>
                  <a:pt x="4424363" y="8928099"/>
                </a:lnTo>
                <a:lnTo>
                  <a:pt x="4338640" y="8928099"/>
                </a:lnTo>
                <a:lnTo>
                  <a:pt x="4338640" y="8925912"/>
                </a:lnTo>
                <a:lnTo>
                  <a:pt x="4196686" y="8922290"/>
                </a:lnTo>
                <a:cubicBezTo>
                  <a:pt x="1934396" y="8806586"/>
                  <a:pt x="120433" y="6976353"/>
                  <a:pt x="5757" y="4693769"/>
                </a:cubicBezTo>
                <a:lnTo>
                  <a:pt x="0" y="4464050"/>
                </a:lnTo>
                <a:lnTo>
                  <a:pt x="5757" y="4234331"/>
                </a:lnTo>
                <a:cubicBezTo>
                  <a:pt x="120433" y="1951748"/>
                  <a:pt x="1934396" y="121514"/>
                  <a:pt x="4196686" y="5809"/>
                </a:cubicBezTo>
                <a:lnTo>
                  <a:pt x="4338640" y="21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r">
              <a:buNone/>
              <a:defRPr sz="2800"/>
            </a:lvl1pPr>
          </a:lstStyle>
          <a:p>
            <a:r>
              <a:rPr lang="en-US" dirty="0" smtClean="0"/>
              <a:t>Click for imag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327672"/>
            <a:ext cx="2291850" cy="156929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9294093"/>
            <a:ext cx="3539872" cy="681878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387850" y="9156700"/>
            <a:ext cx="3539873" cy="0"/>
          </a:xfrm>
          <a:prstGeom prst="line">
            <a:avLst/>
          </a:prstGeom>
          <a:ln w="28575">
            <a:solidFill>
              <a:srgbClr val="1D3769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2601" y="590430"/>
            <a:ext cx="1043781" cy="1043781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87850" y="7226300"/>
            <a:ext cx="3540125" cy="17399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/>
            </a:lvl1pPr>
          </a:lstStyle>
          <a:p>
            <a:r>
              <a:rPr lang="en-US" dirty="0" smtClean="0"/>
              <a:t>Click for logo</a:t>
            </a:r>
            <a:r>
              <a:rPr lang="el-GR" dirty="0" smtClean="0"/>
              <a:t> &amp; </a:t>
            </a:r>
            <a:r>
              <a:rPr lang="en-US" dirty="0" smtClean="0"/>
              <a:t>make it</a:t>
            </a:r>
            <a:br>
              <a:rPr lang="en-US" dirty="0" smtClean="0"/>
            </a:br>
            <a:r>
              <a:rPr lang="en-US" dirty="0" smtClean="0"/>
              <a:t>fit in the crop bo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1764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al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/>
          <p:nvPr userDrawn="1"/>
        </p:nvSpPr>
        <p:spPr>
          <a:xfrm rot="10800000">
            <a:off x="3870246" y="581362"/>
            <a:ext cx="6418341" cy="9125864"/>
          </a:xfrm>
          <a:custGeom>
            <a:avLst/>
            <a:gdLst>
              <a:gd name="connsiteX0" fmla="*/ 1871662 w 6672262"/>
              <a:gd name="connsiteY0" fmla="*/ 9486900 h 9486900"/>
              <a:gd name="connsiteX1" fmla="*/ 0 w 6672262"/>
              <a:gd name="connsiteY1" fmla="*/ 9486900 h 9486900"/>
              <a:gd name="connsiteX2" fmla="*/ 0 w 6672262"/>
              <a:gd name="connsiteY2" fmla="*/ 0 h 9486900"/>
              <a:gd name="connsiteX3" fmla="*/ 1871662 w 6672262"/>
              <a:gd name="connsiteY3" fmla="*/ 0 h 9486900"/>
              <a:gd name="connsiteX4" fmla="*/ 6672262 w 6672262"/>
              <a:gd name="connsiteY4" fmla="*/ 4743450 h 9486900"/>
              <a:gd name="connsiteX5" fmla="*/ 1871662 w 6672262"/>
              <a:gd name="connsiteY5" fmla="*/ 9486900 h 948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72262" h="9486900">
                <a:moveTo>
                  <a:pt x="1871662" y="9486900"/>
                </a:moveTo>
                <a:lnTo>
                  <a:pt x="0" y="9486900"/>
                </a:lnTo>
                <a:lnTo>
                  <a:pt x="0" y="0"/>
                </a:lnTo>
                <a:lnTo>
                  <a:pt x="1871662" y="0"/>
                </a:lnTo>
                <a:cubicBezTo>
                  <a:pt x="4522960" y="0"/>
                  <a:pt x="6672262" y="2123715"/>
                  <a:pt x="6672262" y="4743450"/>
                </a:cubicBezTo>
                <a:cubicBezTo>
                  <a:pt x="6672262" y="7363185"/>
                  <a:pt x="4522960" y="9486900"/>
                  <a:pt x="1871662" y="9486900"/>
                </a:cubicBezTo>
                <a:close/>
              </a:path>
            </a:pathLst>
          </a:custGeom>
          <a:noFill/>
          <a:ln w="6350">
            <a:solidFill>
              <a:srgbClr val="1F97D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200098" y="850129"/>
            <a:ext cx="6088491" cy="8588330"/>
          </a:xfrm>
          <a:custGeom>
            <a:avLst/>
            <a:gdLst>
              <a:gd name="connsiteX0" fmla="*/ 4338640 w 6329363"/>
              <a:gd name="connsiteY0" fmla="*/ 0 h 8928100"/>
              <a:gd name="connsiteX1" fmla="*/ 4424363 w 6329363"/>
              <a:gd name="connsiteY1" fmla="*/ 0 h 8928100"/>
              <a:gd name="connsiteX2" fmla="*/ 4432301 w 6329363"/>
              <a:gd name="connsiteY2" fmla="*/ 0 h 8928100"/>
              <a:gd name="connsiteX3" fmla="*/ 6329363 w 6329363"/>
              <a:gd name="connsiteY3" fmla="*/ 0 h 8928100"/>
              <a:gd name="connsiteX4" fmla="*/ 6329363 w 6329363"/>
              <a:gd name="connsiteY4" fmla="*/ 8928099 h 8928100"/>
              <a:gd name="connsiteX5" fmla="*/ 4432342 w 6329363"/>
              <a:gd name="connsiteY5" fmla="*/ 8928099 h 8928100"/>
              <a:gd name="connsiteX6" fmla="*/ 4432300 w 6329363"/>
              <a:gd name="connsiteY6" fmla="*/ 8928100 h 8928100"/>
              <a:gd name="connsiteX7" fmla="*/ 4424363 w 6329363"/>
              <a:gd name="connsiteY7" fmla="*/ 8928099 h 8928100"/>
              <a:gd name="connsiteX8" fmla="*/ 4338640 w 6329363"/>
              <a:gd name="connsiteY8" fmla="*/ 8928099 h 8928100"/>
              <a:gd name="connsiteX9" fmla="*/ 4338640 w 6329363"/>
              <a:gd name="connsiteY9" fmla="*/ 8925912 h 8928100"/>
              <a:gd name="connsiteX10" fmla="*/ 4196686 w 6329363"/>
              <a:gd name="connsiteY10" fmla="*/ 8922290 h 8928100"/>
              <a:gd name="connsiteX11" fmla="*/ 5757 w 6329363"/>
              <a:gd name="connsiteY11" fmla="*/ 4693769 h 8928100"/>
              <a:gd name="connsiteX12" fmla="*/ 0 w 6329363"/>
              <a:gd name="connsiteY12" fmla="*/ 4464050 h 8928100"/>
              <a:gd name="connsiteX13" fmla="*/ 5757 w 6329363"/>
              <a:gd name="connsiteY13" fmla="*/ 4234331 h 8928100"/>
              <a:gd name="connsiteX14" fmla="*/ 4196686 w 6329363"/>
              <a:gd name="connsiteY14" fmla="*/ 5809 h 8928100"/>
              <a:gd name="connsiteX15" fmla="*/ 4338640 w 6329363"/>
              <a:gd name="connsiteY15" fmla="*/ 2188 h 8928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329363" h="8928100">
                <a:moveTo>
                  <a:pt x="4338640" y="0"/>
                </a:moveTo>
                <a:lnTo>
                  <a:pt x="4424363" y="0"/>
                </a:lnTo>
                <a:lnTo>
                  <a:pt x="4432301" y="0"/>
                </a:lnTo>
                <a:lnTo>
                  <a:pt x="6329363" y="0"/>
                </a:lnTo>
                <a:lnTo>
                  <a:pt x="6329363" y="8928099"/>
                </a:lnTo>
                <a:lnTo>
                  <a:pt x="4432342" y="8928099"/>
                </a:lnTo>
                <a:cubicBezTo>
                  <a:pt x="4432328" y="8928099"/>
                  <a:pt x="4432314" y="8928100"/>
                  <a:pt x="4432300" y="8928100"/>
                </a:cubicBezTo>
                <a:lnTo>
                  <a:pt x="4424363" y="8928099"/>
                </a:lnTo>
                <a:lnTo>
                  <a:pt x="4338640" y="8928099"/>
                </a:lnTo>
                <a:lnTo>
                  <a:pt x="4338640" y="8925912"/>
                </a:lnTo>
                <a:lnTo>
                  <a:pt x="4196686" y="8922290"/>
                </a:lnTo>
                <a:cubicBezTo>
                  <a:pt x="1934396" y="8806586"/>
                  <a:pt x="120433" y="6976353"/>
                  <a:pt x="5757" y="4693769"/>
                </a:cubicBezTo>
                <a:lnTo>
                  <a:pt x="0" y="4464050"/>
                </a:lnTo>
                <a:lnTo>
                  <a:pt x="5757" y="4234331"/>
                </a:lnTo>
                <a:cubicBezTo>
                  <a:pt x="120433" y="1951748"/>
                  <a:pt x="1934396" y="121514"/>
                  <a:pt x="4196686" y="5809"/>
                </a:cubicBezTo>
                <a:lnTo>
                  <a:pt x="4338640" y="21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r">
              <a:buNone/>
              <a:defRPr sz="2800"/>
            </a:lvl1pPr>
          </a:lstStyle>
          <a:p>
            <a:r>
              <a:rPr lang="en-US" dirty="0" smtClean="0"/>
              <a:t>Click for imag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327672"/>
            <a:ext cx="2291850" cy="156929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9294093"/>
            <a:ext cx="3539872" cy="681878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387850" y="9156700"/>
            <a:ext cx="3539873" cy="0"/>
          </a:xfrm>
          <a:prstGeom prst="line">
            <a:avLst/>
          </a:prstGeom>
          <a:ln w="28575">
            <a:solidFill>
              <a:srgbClr val="1D3769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2601" y="590430"/>
            <a:ext cx="1043781" cy="1043781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87850" y="7226300"/>
            <a:ext cx="3540125" cy="17399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/>
            </a:lvl1pPr>
          </a:lstStyle>
          <a:p>
            <a:r>
              <a:rPr lang="en-US" dirty="0" smtClean="0"/>
              <a:t>Click for logo</a:t>
            </a:r>
            <a:r>
              <a:rPr lang="el-GR" dirty="0" smtClean="0"/>
              <a:t> &amp; </a:t>
            </a:r>
            <a:r>
              <a:rPr lang="en-US" dirty="0" smtClean="0"/>
              <a:t>make it</a:t>
            </a:r>
            <a:br>
              <a:rPr lang="en-US" dirty="0" smtClean="0"/>
            </a:br>
            <a:r>
              <a:rPr lang="en-US" dirty="0" smtClean="0"/>
              <a:t>fit in the crop bo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9908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al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/>
          <p:nvPr userDrawn="1"/>
        </p:nvSpPr>
        <p:spPr>
          <a:xfrm rot="10800000">
            <a:off x="3870246" y="581362"/>
            <a:ext cx="6418341" cy="9125864"/>
          </a:xfrm>
          <a:custGeom>
            <a:avLst/>
            <a:gdLst>
              <a:gd name="connsiteX0" fmla="*/ 1871662 w 6672262"/>
              <a:gd name="connsiteY0" fmla="*/ 9486900 h 9486900"/>
              <a:gd name="connsiteX1" fmla="*/ 0 w 6672262"/>
              <a:gd name="connsiteY1" fmla="*/ 9486900 h 9486900"/>
              <a:gd name="connsiteX2" fmla="*/ 0 w 6672262"/>
              <a:gd name="connsiteY2" fmla="*/ 0 h 9486900"/>
              <a:gd name="connsiteX3" fmla="*/ 1871662 w 6672262"/>
              <a:gd name="connsiteY3" fmla="*/ 0 h 9486900"/>
              <a:gd name="connsiteX4" fmla="*/ 6672262 w 6672262"/>
              <a:gd name="connsiteY4" fmla="*/ 4743450 h 9486900"/>
              <a:gd name="connsiteX5" fmla="*/ 1871662 w 6672262"/>
              <a:gd name="connsiteY5" fmla="*/ 9486900 h 948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72262" h="9486900">
                <a:moveTo>
                  <a:pt x="1871662" y="9486900"/>
                </a:moveTo>
                <a:lnTo>
                  <a:pt x="0" y="9486900"/>
                </a:lnTo>
                <a:lnTo>
                  <a:pt x="0" y="0"/>
                </a:lnTo>
                <a:lnTo>
                  <a:pt x="1871662" y="0"/>
                </a:lnTo>
                <a:cubicBezTo>
                  <a:pt x="4522960" y="0"/>
                  <a:pt x="6672262" y="2123715"/>
                  <a:pt x="6672262" y="4743450"/>
                </a:cubicBezTo>
                <a:cubicBezTo>
                  <a:pt x="6672262" y="7363185"/>
                  <a:pt x="4522960" y="9486900"/>
                  <a:pt x="1871662" y="9486900"/>
                </a:cubicBezTo>
                <a:close/>
              </a:path>
            </a:pathLst>
          </a:custGeom>
          <a:noFill/>
          <a:ln w="6350">
            <a:solidFill>
              <a:srgbClr val="59BA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200098" y="850129"/>
            <a:ext cx="6088491" cy="8588330"/>
          </a:xfrm>
          <a:custGeom>
            <a:avLst/>
            <a:gdLst>
              <a:gd name="connsiteX0" fmla="*/ 4338640 w 6329363"/>
              <a:gd name="connsiteY0" fmla="*/ 0 h 8928100"/>
              <a:gd name="connsiteX1" fmla="*/ 4424363 w 6329363"/>
              <a:gd name="connsiteY1" fmla="*/ 0 h 8928100"/>
              <a:gd name="connsiteX2" fmla="*/ 4432301 w 6329363"/>
              <a:gd name="connsiteY2" fmla="*/ 0 h 8928100"/>
              <a:gd name="connsiteX3" fmla="*/ 6329363 w 6329363"/>
              <a:gd name="connsiteY3" fmla="*/ 0 h 8928100"/>
              <a:gd name="connsiteX4" fmla="*/ 6329363 w 6329363"/>
              <a:gd name="connsiteY4" fmla="*/ 8928099 h 8928100"/>
              <a:gd name="connsiteX5" fmla="*/ 4432342 w 6329363"/>
              <a:gd name="connsiteY5" fmla="*/ 8928099 h 8928100"/>
              <a:gd name="connsiteX6" fmla="*/ 4432300 w 6329363"/>
              <a:gd name="connsiteY6" fmla="*/ 8928100 h 8928100"/>
              <a:gd name="connsiteX7" fmla="*/ 4424363 w 6329363"/>
              <a:gd name="connsiteY7" fmla="*/ 8928099 h 8928100"/>
              <a:gd name="connsiteX8" fmla="*/ 4338640 w 6329363"/>
              <a:gd name="connsiteY8" fmla="*/ 8928099 h 8928100"/>
              <a:gd name="connsiteX9" fmla="*/ 4338640 w 6329363"/>
              <a:gd name="connsiteY9" fmla="*/ 8925912 h 8928100"/>
              <a:gd name="connsiteX10" fmla="*/ 4196686 w 6329363"/>
              <a:gd name="connsiteY10" fmla="*/ 8922290 h 8928100"/>
              <a:gd name="connsiteX11" fmla="*/ 5757 w 6329363"/>
              <a:gd name="connsiteY11" fmla="*/ 4693769 h 8928100"/>
              <a:gd name="connsiteX12" fmla="*/ 0 w 6329363"/>
              <a:gd name="connsiteY12" fmla="*/ 4464050 h 8928100"/>
              <a:gd name="connsiteX13" fmla="*/ 5757 w 6329363"/>
              <a:gd name="connsiteY13" fmla="*/ 4234331 h 8928100"/>
              <a:gd name="connsiteX14" fmla="*/ 4196686 w 6329363"/>
              <a:gd name="connsiteY14" fmla="*/ 5809 h 8928100"/>
              <a:gd name="connsiteX15" fmla="*/ 4338640 w 6329363"/>
              <a:gd name="connsiteY15" fmla="*/ 2188 h 8928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329363" h="8928100">
                <a:moveTo>
                  <a:pt x="4338640" y="0"/>
                </a:moveTo>
                <a:lnTo>
                  <a:pt x="4424363" y="0"/>
                </a:lnTo>
                <a:lnTo>
                  <a:pt x="4432301" y="0"/>
                </a:lnTo>
                <a:lnTo>
                  <a:pt x="6329363" y="0"/>
                </a:lnTo>
                <a:lnTo>
                  <a:pt x="6329363" y="8928099"/>
                </a:lnTo>
                <a:lnTo>
                  <a:pt x="4432342" y="8928099"/>
                </a:lnTo>
                <a:cubicBezTo>
                  <a:pt x="4432328" y="8928099"/>
                  <a:pt x="4432314" y="8928100"/>
                  <a:pt x="4432300" y="8928100"/>
                </a:cubicBezTo>
                <a:lnTo>
                  <a:pt x="4424363" y="8928099"/>
                </a:lnTo>
                <a:lnTo>
                  <a:pt x="4338640" y="8928099"/>
                </a:lnTo>
                <a:lnTo>
                  <a:pt x="4338640" y="8925912"/>
                </a:lnTo>
                <a:lnTo>
                  <a:pt x="4196686" y="8922290"/>
                </a:lnTo>
                <a:cubicBezTo>
                  <a:pt x="1934396" y="8806586"/>
                  <a:pt x="120433" y="6976353"/>
                  <a:pt x="5757" y="4693769"/>
                </a:cubicBezTo>
                <a:lnTo>
                  <a:pt x="0" y="4464050"/>
                </a:lnTo>
                <a:lnTo>
                  <a:pt x="5757" y="4234331"/>
                </a:lnTo>
                <a:cubicBezTo>
                  <a:pt x="120433" y="1951748"/>
                  <a:pt x="1934396" y="121514"/>
                  <a:pt x="4196686" y="5809"/>
                </a:cubicBezTo>
                <a:lnTo>
                  <a:pt x="4338640" y="21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r">
              <a:buNone/>
              <a:defRPr sz="2800"/>
            </a:lvl1pPr>
          </a:lstStyle>
          <a:p>
            <a:r>
              <a:rPr lang="en-US" dirty="0" smtClean="0"/>
              <a:t>Click for imag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327672"/>
            <a:ext cx="2291850" cy="156929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9294093"/>
            <a:ext cx="3539872" cy="681878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387850" y="9156700"/>
            <a:ext cx="3539873" cy="0"/>
          </a:xfrm>
          <a:prstGeom prst="line">
            <a:avLst/>
          </a:prstGeom>
          <a:ln w="28575">
            <a:solidFill>
              <a:srgbClr val="1D3769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2601" y="590430"/>
            <a:ext cx="1043781" cy="1043781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87850" y="7226300"/>
            <a:ext cx="3540125" cy="17399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/>
            </a:lvl1pPr>
          </a:lstStyle>
          <a:p>
            <a:r>
              <a:rPr lang="en-US" dirty="0" smtClean="0"/>
              <a:t>Click for logo</a:t>
            </a:r>
            <a:r>
              <a:rPr lang="el-GR" dirty="0" smtClean="0"/>
              <a:t> &amp; </a:t>
            </a:r>
            <a:r>
              <a:rPr lang="en-US" dirty="0" smtClean="0"/>
              <a:t>make it</a:t>
            </a:r>
            <a:br>
              <a:rPr lang="en-US" dirty="0" smtClean="0"/>
            </a:br>
            <a:r>
              <a:rPr lang="en-US" dirty="0" smtClean="0"/>
              <a:t>fit in the crop bo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6308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al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/>
          <p:nvPr userDrawn="1"/>
        </p:nvSpPr>
        <p:spPr>
          <a:xfrm rot="10800000">
            <a:off x="3870246" y="581362"/>
            <a:ext cx="6418341" cy="9125864"/>
          </a:xfrm>
          <a:custGeom>
            <a:avLst/>
            <a:gdLst>
              <a:gd name="connsiteX0" fmla="*/ 1871662 w 6672262"/>
              <a:gd name="connsiteY0" fmla="*/ 9486900 h 9486900"/>
              <a:gd name="connsiteX1" fmla="*/ 0 w 6672262"/>
              <a:gd name="connsiteY1" fmla="*/ 9486900 h 9486900"/>
              <a:gd name="connsiteX2" fmla="*/ 0 w 6672262"/>
              <a:gd name="connsiteY2" fmla="*/ 0 h 9486900"/>
              <a:gd name="connsiteX3" fmla="*/ 1871662 w 6672262"/>
              <a:gd name="connsiteY3" fmla="*/ 0 h 9486900"/>
              <a:gd name="connsiteX4" fmla="*/ 6672262 w 6672262"/>
              <a:gd name="connsiteY4" fmla="*/ 4743450 h 9486900"/>
              <a:gd name="connsiteX5" fmla="*/ 1871662 w 6672262"/>
              <a:gd name="connsiteY5" fmla="*/ 9486900 h 948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72262" h="9486900">
                <a:moveTo>
                  <a:pt x="1871662" y="9486900"/>
                </a:moveTo>
                <a:lnTo>
                  <a:pt x="0" y="9486900"/>
                </a:lnTo>
                <a:lnTo>
                  <a:pt x="0" y="0"/>
                </a:lnTo>
                <a:lnTo>
                  <a:pt x="1871662" y="0"/>
                </a:lnTo>
                <a:cubicBezTo>
                  <a:pt x="4522960" y="0"/>
                  <a:pt x="6672262" y="2123715"/>
                  <a:pt x="6672262" y="4743450"/>
                </a:cubicBezTo>
                <a:cubicBezTo>
                  <a:pt x="6672262" y="7363185"/>
                  <a:pt x="4522960" y="9486900"/>
                  <a:pt x="1871662" y="9486900"/>
                </a:cubicBezTo>
                <a:close/>
              </a:path>
            </a:pathLst>
          </a:custGeom>
          <a:noFill/>
          <a:ln w="6350">
            <a:solidFill>
              <a:srgbClr val="136A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200098" y="850129"/>
            <a:ext cx="6088491" cy="8588330"/>
          </a:xfrm>
          <a:custGeom>
            <a:avLst/>
            <a:gdLst>
              <a:gd name="connsiteX0" fmla="*/ 4338640 w 6329363"/>
              <a:gd name="connsiteY0" fmla="*/ 0 h 8928100"/>
              <a:gd name="connsiteX1" fmla="*/ 4424363 w 6329363"/>
              <a:gd name="connsiteY1" fmla="*/ 0 h 8928100"/>
              <a:gd name="connsiteX2" fmla="*/ 4432301 w 6329363"/>
              <a:gd name="connsiteY2" fmla="*/ 0 h 8928100"/>
              <a:gd name="connsiteX3" fmla="*/ 6329363 w 6329363"/>
              <a:gd name="connsiteY3" fmla="*/ 0 h 8928100"/>
              <a:gd name="connsiteX4" fmla="*/ 6329363 w 6329363"/>
              <a:gd name="connsiteY4" fmla="*/ 8928099 h 8928100"/>
              <a:gd name="connsiteX5" fmla="*/ 4432342 w 6329363"/>
              <a:gd name="connsiteY5" fmla="*/ 8928099 h 8928100"/>
              <a:gd name="connsiteX6" fmla="*/ 4432300 w 6329363"/>
              <a:gd name="connsiteY6" fmla="*/ 8928100 h 8928100"/>
              <a:gd name="connsiteX7" fmla="*/ 4424363 w 6329363"/>
              <a:gd name="connsiteY7" fmla="*/ 8928099 h 8928100"/>
              <a:gd name="connsiteX8" fmla="*/ 4338640 w 6329363"/>
              <a:gd name="connsiteY8" fmla="*/ 8928099 h 8928100"/>
              <a:gd name="connsiteX9" fmla="*/ 4338640 w 6329363"/>
              <a:gd name="connsiteY9" fmla="*/ 8925912 h 8928100"/>
              <a:gd name="connsiteX10" fmla="*/ 4196686 w 6329363"/>
              <a:gd name="connsiteY10" fmla="*/ 8922290 h 8928100"/>
              <a:gd name="connsiteX11" fmla="*/ 5757 w 6329363"/>
              <a:gd name="connsiteY11" fmla="*/ 4693769 h 8928100"/>
              <a:gd name="connsiteX12" fmla="*/ 0 w 6329363"/>
              <a:gd name="connsiteY12" fmla="*/ 4464050 h 8928100"/>
              <a:gd name="connsiteX13" fmla="*/ 5757 w 6329363"/>
              <a:gd name="connsiteY13" fmla="*/ 4234331 h 8928100"/>
              <a:gd name="connsiteX14" fmla="*/ 4196686 w 6329363"/>
              <a:gd name="connsiteY14" fmla="*/ 5809 h 8928100"/>
              <a:gd name="connsiteX15" fmla="*/ 4338640 w 6329363"/>
              <a:gd name="connsiteY15" fmla="*/ 2188 h 8928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329363" h="8928100">
                <a:moveTo>
                  <a:pt x="4338640" y="0"/>
                </a:moveTo>
                <a:lnTo>
                  <a:pt x="4424363" y="0"/>
                </a:lnTo>
                <a:lnTo>
                  <a:pt x="4432301" y="0"/>
                </a:lnTo>
                <a:lnTo>
                  <a:pt x="6329363" y="0"/>
                </a:lnTo>
                <a:lnTo>
                  <a:pt x="6329363" y="8928099"/>
                </a:lnTo>
                <a:lnTo>
                  <a:pt x="4432342" y="8928099"/>
                </a:lnTo>
                <a:cubicBezTo>
                  <a:pt x="4432328" y="8928099"/>
                  <a:pt x="4432314" y="8928100"/>
                  <a:pt x="4432300" y="8928100"/>
                </a:cubicBezTo>
                <a:lnTo>
                  <a:pt x="4424363" y="8928099"/>
                </a:lnTo>
                <a:lnTo>
                  <a:pt x="4338640" y="8928099"/>
                </a:lnTo>
                <a:lnTo>
                  <a:pt x="4338640" y="8925912"/>
                </a:lnTo>
                <a:lnTo>
                  <a:pt x="4196686" y="8922290"/>
                </a:lnTo>
                <a:cubicBezTo>
                  <a:pt x="1934396" y="8806586"/>
                  <a:pt x="120433" y="6976353"/>
                  <a:pt x="5757" y="4693769"/>
                </a:cubicBezTo>
                <a:lnTo>
                  <a:pt x="0" y="4464050"/>
                </a:lnTo>
                <a:lnTo>
                  <a:pt x="5757" y="4234331"/>
                </a:lnTo>
                <a:cubicBezTo>
                  <a:pt x="120433" y="1951748"/>
                  <a:pt x="1934396" y="121514"/>
                  <a:pt x="4196686" y="5809"/>
                </a:cubicBezTo>
                <a:lnTo>
                  <a:pt x="4338640" y="21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r">
              <a:buNone/>
              <a:defRPr sz="2800"/>
            </a:lvl1pPr>
          </a:lstStyle>
          <a:p>
            <a:r>
              <a:rPr lang="en-US" dirty="0" smtClean="0"/>
              <a:t>Click for imag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327672"/>
            <a:ext cx="2291850" cy="156929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9294093"/>
            <a:ext cx="3539872" cy="681878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387850" y="9156700"/>
            <a:ext cx="3539873" cy="0"/>
          </a:xfrm>
          <a:prstGeom prst="line">
            <a:avLst/>
          </a:prstGeom>
          <a:ln w="28575">
            <a:solidFill>
              <a:srgbClr val="1D3769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2601" y="590430"/>
            <a:ext cx="1043781" cy="1043781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87850" y="7226300"/>
            <a:ext cx="3540125" cy="17399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/>
            </a:lvl1pPr>
          </a:lstStyle>
          <a:p>
            <a:r>
              <a:rPr lang="en-US" dirty="0" smtClean="0"/>
              <a:t>Click for logo</a:t>
            </a:r>
            <a:r>
              <a:rPr lang="el-GR" dirty="0" smtClean="0"/>
              <a:t> &amp; </a:t>
            </a:r>
            <a:r>
              <a:rPr lang="en-US" dirty="0" smtClean="0"/>
              <a:t>make it</a:t>
            </a:r>
            <a:br>
              <a:rPr lang="en-US" dirty="0" smtClean="0"/>
            </a:br>
            <a:r>
              <a:rPr lang="en-US" dirty="0" smtClean="0"/>
              <a:t>fit in the crop bo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51582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al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/>
          <p:nvPr userDrawn="1"/>
        </p:nvSpPr>
        <p:spPr>
          <a:xfrm rot="10800000">
            <a:off x="3870246" y="581362"/>
            <a:ext cx="6418341" cy="9125864"/>
          </a:xfrm>
          <a:custGeom>
            <a:avLst/>
            <a:gdLst>
              <a:gd name="connsiteX0" fmla="*/ 1871662 w 6672262"/>
              <a:gd name="connsiteY0" fmla="*/ 9486900 h 9486900"/>
              <a:gd name="connsiteX1" fmla="*/ 0 w 6672262"/>
              <a:gd name="connsiteY1" fmla="*/ 9486900 h 9486900"/>
              <a:gd name="connsiteX2" fmla="*/ 0 w 6672262"/>
              <a:gd name="connsiteY2" fmla="*/ 0 h 9486900"/>
              <a:gd name="connsiteX3" fmla="*/ 1871662 w 6672262"/>
              <a:gd name="connsiteY3" fmla="*/ 0 h 9486900"/>
              <a:gd name="connsiteX4" fmla="*/ 6672262 w 6672262"/>
              <a:gd name="connsiteY4" fmla="*/ 4743450 h 9486900"/>
              <a:gd name="connsiteX5" fmla="*/ 1871662 w 6672262"/>
              <a:gd name="connsiteY5" fmla="*/ 9486900 h 948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72262" h="9486900">
                <a:moveTo>
                  <a:pt x="1871662" y="9486900"/>
                </a:moveTo>
                <a:lnTo>
                  <a:pt x="0" y="9486900"/>
                </a:lnTo>
                <a:lnTo>
                  <a:pt x="0" y="0"/>
                </a:lnTo>
                <a:lnTo>
                  <a:pt x="1871662" y="0"/>
                </a:lnTo>
                <a:cubicBezTo>
                  <a:pt x="4522960" y="0"/>
                  <a:pt x="6672262" y="2123715"/>
                  <a:pt x="6672262" y="4743450"/>
                </a:cubicBezTo>
                <a:cubicBezTo>
                  <a:pt x="6672262" y="7363185"/>
                  <a:pt x="4522960" y="9486900"/>
                  <a:pt x="1871662" y="9486900"/>
                </a:cubicBezTo>
                <a:close/>
              </a:path>
            </a:pathLst>
          </a:custGeom>
          <a:noFill/>
          <a:ln w="6350">
            <a:solidFill>
              <a:srgbClr val="1449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200098" y="850129"/>
            <a:ext cx="6088491" cy="8588330"/>
          </a:xfrm>
          <a:custGeom>
            <a:avLst/>
            <a:gdLst>
              <a:gd name="connsiteX0" fmla="*/ 4338640 w 6329363"/>
              <a:gd name="connsiteY0" fmla="*/ 0 h 8928100"/>
              <a:gd name="connsiteX1" fmla="*/ 4424363 w 6329363"/>
              <a:gd name="connsiteY1" fmla="*/ 0 h 8928100"/>
              <a:gd name="connsiteX2" fmla="*/ 4432301 w 6329363"/>
              <a:gd name="connsiteY2" fmla="*/ 0 h 8928100"/>
              <a:gd name="connsiteX3" fmla="*/ 6329363 w 6329363"/>
              <a:gd name="connsiteY3" fmla="*/ 0 h 8928100"/>
              <a:gd name="connsiteX4" fmla="*/ 6329363 w 6329363"/>
              <a:gd name="connsiteY4" fmla="*/ 8928099 h 8928100"/>
              <a:gd name="connsiteX5" fmla="*/ 4432342 w 6329363"/>
              <a:gd name="connsiteY5" fmla="*/ 8928099 h 8928100"/>
              <a:gd name="connsiteX6" fmla="*/ 4432300 w 6329363"/>
              <a:gd name="connsiteY6" fmla="*/ 8928100 h 8928100"/>
              <a:gd name="connsiteX7" fmla="*/ 4424363 w 6329363"/>
              <a:gd name="connsiteY7" fmla="*/ 8928099 h 8928100"/>
              <a:gd name="connsiteX8" fmla="*/ 4338640 w 6329363"/>
              <a:gd name="connsiteY8" fmla="*/ 8928099 h 8928100"/>
              <a:gd name="connsiteX9" fmla="*/ 4338640 w 6329363"/>
              <a:gd name="connsiteY9" fmla="*/ 8925912 h 8928100"/>
              <a:gd name="connsiteX10" fmla="*/ 4196686 w 6329363"/>
              <a:gd name="connsiteY10" fmla="*/ 8922290 h 8928100"/>
              <a:gd name="connsiteX11" fmla="*/ 5757 w 6329363"/>
              <a:gd name="connsiteY11" fmla="*/ 4693769 h 8928100"/>
              <a:gd name="connsiteX12" fmla="*/ 0 w 6329363"/>
              <a:gd name="connsiteY12" fmla="*/ 4464050 h 8928100"/>
              <a:gd name="connsiteX13" fmla="*/ 5757 w 6329363"/>
              <a:gd name="connsiteY13" fmla="*/ 4234331 h 8928100"/>
              <a:gd name="connsiteX14" fmla="*/ 4196686 w 6329363"/>
              <a:gd name="connsiteY14" fmla="*/ 5809 h 8928100"/>
              <a:gd name="connsiteX15" fmla="*/ 4338640 w 6329363"/>
              <a:gd name="connsiteY15" fmla="*/ 2188 h 8928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329363" h="8928100">
                <a:moveTo>
                  <a:pt x="4338640" y="0"/>
                </a:moveTo>
                <a:lnTo>
                  <a:pt x="4424363" y="0"/>
                </a:lnTo>
                <a:lnTo>
                  <a:pt x="4432301" y="0"/>
                </a:lnTo>
                <a:lnTo>
                  <a:pt x="6329363" y="0"/>
                </a:lnTo>
                <a:lnTo>
                  <a:pt x="6329363" y="8928099"/>
                </a:lnTo>
                <a:lnTo>
                  <a:pt x="4432342" y="8928099"/>
                </a:lnTo>
                <a:cubicBezTo>
                  <a:pt x="4432328" y="8928099"/>
                  <a:pt x="4432314" y="8928100"/>
                  <a:pt x="4432300" y="8928100"/>
                </a:cubicBezTo>
                <a:lnTo>
                  <a:pt x="4424363" y="8928099"/>
                </a:lnTo>
                <a:lnTo>
                  <a:pt x="4338640" y="8928099"/>
                </a:lnTo>
                <a:lnTo>
                  <a:pt x="4338640" y="8925912"/>
                </a:lnTo>
                <a:lnTo>
                  <a:pt x="4196686" y="8922290"/>
                </a:lnTo>
                <a:cubicBezTo>
                  <a:pt x="1934396" y="8806586"/>
                  <a:pt x="120433" y="6976353"/>
                  <a:pt x="5757" y="4693769"/>
                </a:cubicBezTo>
                <a:lnTo>
                  <a:pt x="0" y="4464050"/>
                </a:lnTo>
                <a:lnTo>
                  <a:pt x="5757" y="4234331"/>
                </a:lnTo>
                <a:cubicBezTo>
                  <a:pt x="120433" y="1951748"/>
                  <a:pt x="1934396" y="121514"/>
                  <a:pt x="4196686" y="5809"/>
                </a:cubicBezTo>
                <a:lnTo>
                  <a:pt x="4338640" y="21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r">
              <a:buNone/>
              <a:defRPr sz="2800"/>
            </a:lvl1pPr>
          </a:lstStyle>
          <a:p>
            <a:r>
              <a:rPr lang="en-US" dirty="0" smtClean="0"/>
              <a:t>Click for imag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327672"/>
            <a:ext cx="2291850" cy="156929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9294093"/>
            <a:ext cx="3539872" cy="681878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387850" y="9156700"/>
            <a:ext cx="3539873" cy="0"/>
          </a:xfrm>
          <a:prstGeom prst="line">
            <a:avLst/>
          </a:prstGeom>
          <a:ln w="28575">
            <a:solidFill>
              <a:srgbClr val="1D3769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2601" y="590430"/>
            <a:ext cx="1043781" cy="1043781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87850" y="7226300"/>
            <a:ext cx="3540125" cy="17399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/>
            </a:lvl1pPr>
          </a:lstStyle>
          <a:p>
            <a:r>
              <a:rPr lang="en-US" dirty="0" smtClean="0"/>
              <a:t>Click for logo</a:t>
            </a:r>
            <a:r>
              <a:rPr lang="el-GR" dirty="0" smtClean="0"/>
              <a:t> &amp; </a:t>
            </a:r>
            <a:r>
              <a:rPr lang="en-US" dirty="0" smtClean="0"/>
              <a:t>make it</a:t>
            </a:r>
            <a:br>
              <a:rPr lang="en-US" dirty="0" smtClean="0"/>
            </a:br>
            <a:r>
              <a:rPr lang="en-US" dirty="0" smtClean="0"/>
              <a:t>fit in the crop bo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1384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/>
          <p:nvPr userDrawn="1"/>
        </p:nvSpPr>
        <p:spPr>
          <a:xfrm rot="10800000">
            <a:off x="3870246" y="581362"/>
            <a:ext cx="6418341" cy="9125864"/>
          </a:xfrm>
          <a:custGeom>
            <a:avLst/>
            <a:gdLst>
              <a:gd name="connsiteX0" fmla="*/ 1871662 w 6672262"/>
              <a:gd name="connsiteY0" fmla="*/ 9486900 h 9486900"/>
              <a:gd name="connsiteX1" fmla="*/ 0 w 6672262"/>
              <a:gd name="connsiteY1" fmla="*/ 9486900 h 9486900"/>
              <a:gd name="connsiteX2" fmla="*/ 0 w 6672262"/>
              <a:gd name="connsiteY2" fmla="*/ 0 h 9486900"/>
              <a:gd name="connsiteX3" fmla="*/ 1871662 w 6672262"/>
              <a:gd name="connsiteY3" fmla="*/ 0 h 9486900"/>
              <a:gd name="connsiteX4" fmla="*/ 6672262 w 6672262"/>
              <a:gd name="connsiteY4" fmla="*/ 4743450 h 9486900"/>
              <a:gd name="connsiteX5" fmla="*/ 1871662 w 6672262"/>
              <a:gd name="connsiteY5" fmla="*/ 9486900 h 948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72262" h="9486900">
                <a:moveTo>
                  <a:pt x="1871662" y="9486900"/>
                </a:moveTo>
                <a:lnTo>
                  <a:pt x="0" y="9486900"/>
                </a:lnTo>
                <a:lnTo>
                  <a:pt x="0" y="0"/>
                </a:lnTo>
                <a:lnTo>
                  <a:pt x="1871662" y="0"/>
                </a:lnTo>
                <a:cubicBezTo>
                  <a:pt x="4522960" y="0"/>
                  <a:pt x="6672262" y="2123715"/>
                  <a:pt x="6672262" y="4743450"/>
                </a:cubicBezTo>
                <a:cubicBezTo>
                  <a:pt x="6672262" y="7363185"/>
                  <a:pt x="4522960" y="9486900"/>
                  <a:pt x="1871662" y="9486900"/>
                </a:cubicBezTo>
                <a:close/>
              </a:path>
            </a:pathLst>
          </a:custGeom>
          <a:noFill/>
          <a:ln w="6350">
            <a:solidFill>
              <a:srgbClr val="DCA63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200098" y="850129"/>
            <a:ext cx="6088491" cy="8588330"/>
          </a:xfrm>
          <a:custGeom>
            <a:avLst/>
            <a:gdLst>
              <a:gd name="connsiteX0" fmla="*/ 4338640 w 6329363"/>
              <a:gd name="connsiteY0" fmla="*/ 0 h 8928100"/>
              <a:gd name="connsiteX1" fmla="*/ 4424363 w 6329363"/>
              <a:gd name="connsiteY1" fmla="*/ 0 h 8928100"/>
              <a:gd name="connsiteX2" fmla="*/ 4432301 w 6329363"/>
              <a:gd name="connsiteY2" fmla="*/ 0 h 8928100"/>
              <a:gd name="connsiteX3" fmla="*/ 6329363 w 6329363"/>
              <a:gd name="connsiteY3" fmla="*/ 0 h 8928100"/>
              <a:gd name="connsiteX4" fmla="*/ 6329363 w 6329363"/>
              <a:gd name="connsiteY4" fmla="*/ 8928099 h 8928100"/>
              <a:gd name="connsiteX5" fmla="*/ 4432342 w 6329363"/>
              <a:gd name="connsiteY5" fmla="*/ 8928099 h 8928100"/>
              <a:gd name="connsiteX6" fmla="*/ 4432300 w 6329363"/>
              <a:gd name="connsiteY6" fmla="*/ 8928100 h 8928100"/>
              <a:gd name="connsiteX7" fmla="*/ 4424363 w 6329363"/>
              <a:gd name="connsiteY7" fmla="*/ 8928099 h 8928100"/>
              <a:gd name="connsiteX8" fmla="*/ 4338640 w 6329363"/>
              <a:gd name="connsiteY8" fmla="*/ 8928099 h 8928100"/>
              <a:gd name="connsiteX9" fmla="*/ 4338640 w 6329363"/>
              <a:gd name="connsiteY9" fmla="*/ 8925912 h 8928100"/>
              <a:gd name="connsiteX10" fmla="*/ 4196686 w 6329363"/>
              <a:gd name="connsiteY10" fmla="*/ 8922290 h 8928100"/>
              <a:gd name="connsiteX11" fmla="*/ 5757 w 6329363"/>
              <a:gd name="connsiteY11" fmla="*/ 4693769 h 8928100"/>
              <a:gd name="connsiteX12" fmla="*/ 0 w 6329363"/>
              <a:gd name="connsiteY12" fmla="*/ 4464050 h 8928100"/>
              <a:gd name="connsiteX13" fmla="*/ 5757 w 6329363"/>
              <a:gd name="connsiteY13" fmla="*/ 4234331 h 8928100"/>
              <a:gd name="connsiteX14" fmla="*/ 4196686 w 6329363"/>
              <a:gd name="connsiteY14" fmla="*/ 5809 h 8928100"/>
              <a:gd name="connsiteX15" fmla="*/ 4338640 w 6329363"/>
              <a:gd name="connsiteY15" fmla="*/ 2188 h 8928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329363" h="8928100">
                <a:moveTo>
                  <a:pt x="4338640" y="0"/>
                </a:moveTo>
                <a:lnTo>
                  <a:pt x="4424363" y="0"/>
                </a:lnTo>
                <a:lnTo>
                  <a:pt x="4432301" y="0"/>
                </a:lnTo>
                <a:lnTo>
                  <a:pt x="6329363" y="0"/>
                </a:lnTo>
                <a:lnTo>
                  <a:pt x="6329363" y="8928099"/>
                </a:lnTo>
                <a:lnTo>
                  <a:pt x="4432342" y="8928099"/>
                </a:lnTo>
                <a:cubicBezTo>
                  <a:pt x="4432328" y="8928099"/>
                  <a:pt x="4432314" y="8928100"/>
                  <a:pt x="4432300" y="8928100"/>
                </a:cubicBezTo>
                <a:lnTo>
                  <a:pt x="4424363" y="8928099"/>
                </a:lnTo>
                <a:lnTo>
                  <a:pt x="4338640" y="8928099"/>
                </a:lnTo>
                <a:lnTo>
                  <a:pt x="4338640" y="8925912"/>
                </a:lnTo>
                <a:lnTo>
                  <a:pt x="4196686" y="8922290"/>
                </a:lnTo>
                <a:cubicBezTo>
                  <a:pt x="1934396" y="8806586"/>
                  <a:pt x="120433" y="6976353"/>
                  <a:pt x="5757" y="4693769"/>
                </a:cubicBezTo>
                <a:lnTo>
                  <a:pt x="0" y="4464050"/>
                </a:lnTo>
                <a:lnTo>
                  <a:pt x="5757" y="4234331"/>
                </a:lnTo>
                <a:cubicBezTo>
                  <a:pt x="120433" y="1951748"/>
                  <a:pt x="1934396" y="121514"/>
                  <a:pt x="4196686" y="5809"/>
                </a:cubicBezTo>
                <a:lnTo>
                  <a:pt x="4338640" y="21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r">
              <a:buNone/>
              <a:defRPr sz="2800"/>
            </a:lvl1pPr>
          </a:lstStyle>
          <a:p>
            <a:r>
              <a:rPr lang="en-US" dirty="0" smtClean="0"/>
              <a:t>Click for imag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327672"/>
            <a:ext cx="2291850" cy="156929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9294093"/>
            <a:ext cx="3539872" cy="681878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387850" y="9156700"/>
            <a:ext cx="3539873" cy="0"/>
          </a:xfrm>
          <a:prstGeom prst="line">
            <a:avLst/>
          </a:prstGeom>
          <a:ln w="28575">
            <a:solidFill>
              <a:srgbClr val="1D3769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2601" y="590430"/>
            <a:ext cx="1043781" cy="1043781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87850" y="7226300"/>
            <a:ext cx="3540125" cy="17399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/>
            </a:lvl1pPr>
          </a:lstStyle>
          <a:p>
            <a:r>
              <a:rPr lang="en-US" dirty="0" smtClean="0"/>
              <a:t>Click for logo &amp; make it</a:t>
            </a:r>
            <a:br>
              <a:rPr lang="en-US" dirty="0" smtClean="0"/>
            </a:br>
            <a:r>
              <a:rPr lang="en-US" dirty="0" smtClean="0"/>
              <a:t>fit in the crop box</a:t>
            </a:r>
          </a:p>
        </p:txBody>
      </p:sp>
    </p:spTree>
    <p:extLst>
      <p:ext uri="{BB962C8B-B14F-4D97-AF65-F5344CB8AC3E}">
        <p14:creationId xmlns:p14="http://schemas.microsoft.com/office/powerpoint/2010/main" val="1528747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a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/>
          <p:nvPr userDrawn="1"/>
        </p:nvSpPr>
        <p:spPr>
          <a:xfrm rot="10800000">
            <a:off x="3870246" y="581362"/>
            <a:ext cx="6418341" cy="9125864"/>
          </a:xfrm>
          <a:custGeom>
            <a:avLst/>
            <a:gdLst>
              <a:gd name="connsiteX0" fmla="*/ 1871662 w 6672262"/>
              <a:gd name="connsiteY0" fmla="*/ 9486900 h 9486900"/>
              <a:gd name="connsiteX1" fmla="*/ 0 w 6672262"/>
              <a:gd name="connsiteY1" fmla="*/ 9486900 h 9486900"/>
              <a:gd name="connsiteX2" fmla="*/ 0 w 6672262"/>
              <a:gd name="connsiteY2" fmla="*/ 0 h 9486900"/>
              <a:gd name="connsiteX3" fmla="*/ 1871662 w 6672262"/>
              <a:gd name="connsiteY3" fmla="*/ 0 h 9486900"/>
              <a:gd name="connsiteX4" fmla="*/ 6672262 w 6672262"/>
              <a:gd name="connsiteY4" fmla="*/ 4743450 h 9486900"/>
              <a:gd name="connsiteX5" fmla="*/ 1871662 w 6672262"/>
              <a:gd name="connsiteY5" fmla="*/ 9486900 h 948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72262" h="9486900">
                <a:moveTo>
                  <a:pt x="1871662" y="9486900"/>
                </a:moveTo>
                <a:lnTo>
                  <a:pt x="0" y="9486900"/>
                </a:lnTo>
                <a:lnTo>
                  <a:pt x="0" y="0"/>
                </a:lnTo>
                <a:lnTo>
                  <a:pt x="1871662" y="0"/>
                </a:lnTo>
                <a:cubicBezTo>
                  <a:pt x="4522960" y="0"/>
                  <a:pt x="6672262" y="2123715"/>
                  <a:pt x="6672262" y="4743450"/>
                </a:cubicBezTo>
                <a:cubicBezTo>
                  <a:pt x="6672262" y="7363185"/>
                  <a:pt x="4522960" y="9486900"/>
                  <a:pt x="1871662" y="9486900"/>
                </a:cubicBezTo>
                <a:close/>
              </a:path>
            </a:pathLst>
          </a:custGeom>
          <a:noFill/>
          <a:ln w="6350">
            <a:solidFill>
              <a:srgbClr val="4BA1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200098" y="850129"/>
            <a:ext cx="6088491" cy="8588330"/>
          </a:xfrm>
          <a:custGeom>
            <a:avLst/>
            <a:gdLst>
              <a:gd name="connsiteX0" fmla="*/ 4338640 w 6329363"/>
              <a:gd name="connsiteY0" fmla="*/ 0 h 8928100"/>
              <a:gd name="connsiteX1" fmla="*/ 4424363 w 6329363"/>
              <a:gd name="connsiteY1" fmla="*/ 0 h 8928100"/>
              <a:gd name="connsiteX2" fmla="*/ 4432301 w 6329363"/>
              <a:gd name="connsiteY2" fmla="*/ 0 h 8928100"/>
              <a:gd name="connsiteX3" fmla="*/ 6329363 w 6329363"/>
              <a:gd name="connsiteY3" fmla="*/ 0 h 8928100"/>
              <a:gd name="connsiteX4" fmla="*/ 6329363 w 6329363"/>
              <a:gd name="connsiteY4" fmla="*/ 8928099 h 8928100"/>
              <a:gd name="connsiteX5" fmla="*/ 4432342 w 6329363"/>
              <a:gd name="connsiteY5" fmla="*/ 8928099 h 8928100"/>
              <a:gd name="connsiteX6" fmla="*/ 4432300 w 6329363"/>
              <a:gd name="connsiteY6" fmla="*/ 8928100 h 8928100"/>
              <a:gd name="connsiteX7" fmla="*/ 4424363 w 6329363"/>
              <a:gd name="connsiteY7" fmla="*/ 8928099 h 8928100"/>
              <a:gd name="connsiteX8" fmla="*/ 4338640 w 6329363"/>
              <a:gd name="connsiteY8" fmla="*/ 8928099 h 8928100"/>
              <a:gd name="connsiteX9" fmla="*/ 4338640 w 6329363"/>
              <a:gd name="connsiteY9" fmla="*/ 8925912 h 8928100"/>
              <a:gd name="connsiteX10" fmla="*/ 4196686 w 6329363"/>
              <a:gd name="connsiteY10" fmla="*/ 8922290 h 8928100"/>
              <a:gd name="connsiteX11" fmla="*/ 5757 w 6329363"/>
              <a:gd name="connsiteY11" fmla="*/ 4693769 h 8928100"/>
              <a:gd name="connsiteX12" fmla="*/ 0 w 6329363"/>
              <a:gd name="connsiteY12" fmla="*/ 4464050 h 8928100"/>
              <a:gd name="connsiteX13" fmla="*/ 5757 w 6329363"/>
              <a:gd name="connsiteY13" fmla="*/ 4234331 h 8928100"/>
              <a:gd name="connsiteX14" fmla="*/ 4196686 w 6329363"/>
              <a:gd name="connsiteY14" fmla="*/ 5809 h 8928100"/>
              <a:gd name="connsiteX15" fmla="*/ 4338640 w 6329363"/>
              <a:gd name="connsiteY15" fmla="*/ 2188 h 8928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329363" h="8928100">
                <a:moveTo>
                  <a:pt x="4338640" y="0"/>
                </a:moveTo>
                <a:lnTo>
                  <a:pt x="4424363" y="0"/>
                </a:lnTo>
                <a:lnTo>
                  <a:pt x="4432301" y="0"/>
                </a:lnTo>
                <a:lnTo>
                  <a:pt x="6329363" y="0"/>
                </a:lnTo>
                <a:lnTo>
                  <a:pt x="6329363" y="8928099"/>
                </a:lnTo>
                <a:lnTo>
                  <a:pt x="4432342" y="8928099"/>
                </a:lnTo>
                <a:cubicBezTo>
                  <a:pt x="4432328" y="8928099"/>
                  <a:pt x="4432314" y="8928100"/>
                  <a:pt x="4432300" y="8928100"/>
                </a:cubicBezTo>
                <a:lnTo>
                  <a:pt x="4424363" y="8928099"/>
                </a:lnTo>
                <a:lnTo>
                  <a:pt x="4338640" y="8928099"/>
                </a:lnTo>
                <a:lnTo>
                  <a:pt x="4338640" y="8925912"/>
                </a:lnTo>
                <a:lnTo>
                  <a:pt x="4196686" y="8922290"/>
                </a:lnTo>
                <a:cubicBezTo>
                  <a:pt x="1934396" y="8806586"/>
                  <a:pt x="120433" y="6976353"/>
                  <a:pt x="5757" y="4693769"/>
                </a:cubicBezTo>
                <a:lnTo>
                  <a:pt x="0" y="4464050"/>
                </a:lnTo>
                <a:lnTo>
                  <a:pt x="5757" y="4234331"/>
                </a:lnTo>
                <a:cubicBezTo>
                  <a:pt x="120433" y="1951748"/>
                  <a:pt x="1934396" y="121514"/>
                  <a:pt x="4196686" y="5809"/>
                </a:cubicBezTo>
                <a:lnTo>
                  <a:pt x="4338640" y="21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r">
              <a:buNone/>
              <a:defRPr sz="2800"/>
            </a:lvl1pPr>
          </a:lstStyle>
          <a:p>
            <a:r>
              <a:rPr lang="en-US" dirty="0" smtClean="0"/>
              <a:t>Click for imag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327672"/>
            <a:ext cx="2291850" cy="156929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9294093"/>
            <a:ext cx="3539872" cy="681878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387850" y="9156700"/>
            <a:ext cx="3539873" cy="0"/>
          </a:xfrm>
          <a:prstGeom prst="line">
            <a:avLst/>
          </a:prstGeom>
          <a:ln w="28575">
            <a:solidFill>
              <a:srgbClr val="1D3769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2601" y="590430"/>
            <a:ext cx="1043781" cy="1043781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87850" y="7226300"/>
            <a:ext cx="3540125" cy="17399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/>
            </a:lvl1pPr>
          </a:lstStyle>
          <a:p>
            <a:r>
              <a:rPr lang="en-US" dirty="0" smtClean="0"/>
              <a:t>Click for logo</a:t>
            </a:r>
            <a:r>
              <a:rPr lang="el-GR" dirty="0" smtClean="0"/>
              <a:t> &amp; </a:t>
            </a:r>
            <a:r>
              <a:rPr lang="en-US" dirty="0" smtClean="0"/>
              <a:t>make it</a:t>
            </a:r>
            <a:br>
              <a:rPr lang="en-US" dirty="0" smtClean="0"/>
            </a:br>
            <a:r>
              <a:rPr lang="en-US" dirty="0" smtClean="0"/>
              <a:t>fit in the crop bo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3249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al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/>
          <p:nvPr userDrawn="1"/>
        </p:nvSpPr>
        <p:spPr>
          <a:xfrm rot="10800000">
            <a:off x="3870246" y="581362"/>
            <a:ext cx="6418341" cy="9125864"/>
          </a:xfrm>
          <a:custGeom>
            <a:avLst/>
            <a:gdLst>
              <a:gd name="connsiteX0" fmla="*/ 1871662 w 6672262"/>
              <a:gd name="connsiteY0" fmla="*/ 9486900 h 9486900"/>
              <a:gd name="connsiteX1" fmla="*/ 0 w 6672262"/>
              <a:gd name="connsiteY1" fmla="*/ 9486900 h 9486900"/>
              <a:gd name="connsiteX2" fmla="*/ 0 w 6672262"/>
              <a:gd name="connsiteY2" fmla="*/ 0 h 9486900"/>
              <a:gd name="connsiteX3" fmla="*/ 1871662 w 6672262"/>
              <a:gd name="connsiteY3" fmla="*/ 0 h 9486900"/>
              <a:gd name="connsiteX4" fmla="*/ 6672262 w 6672262"/>
              <a:gd name="connsiteY4" fmla="*/ 4743450 h 9486900"/>
              <a:gd name="connsiteX5" fmla="*/ 1871662 w 6672262"/>
              <a:gd name="connsiteY5" fmla="*/ 9486900 h 948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72262" h="9486900">
                <a:moveTo>
                  <a:pt x="1871662" y="9486900"/>
                </a:moveTo>
                <a:lnTo>
                  <a:pt x="0" y="9486900"/>
                </a:lnTo>
                <a:lnTo>
                  <a:pt x="0" y="0"/>
                </a:lnTo>
                <a:lnTo>
                  <a:pt x="1871662" y="0"/>
                </a:lnTo>
                <a:cubicBezTo>
                  <a:pt x="4522960" y="0"/>
                  <a:pt x="6672262" y="2123715"/>
                  <a:pt x="6672262" y="4743450"/>
                </a:cubicBezTo>
                <a:cubicBezTo>
                  <a:pt x="6672262" y="7363185"/>
                  <a:pt x="4522960" y="9486900"/>
                  <a:pt x="1871662" y="9486900"/>
                </a:cubicBezTo>
                <a:close/>
              </a:path>
            </a:pathLst>
          </a:custGeom>
          <a:noFill/>
          <a:ln w="6350">
            <a:solidFill>
              <a:srgbClr val="C721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200098" y="850129"/>
            <a:ext cx="6088491" cy="8588330"/>
          </a:xfrm>
          <a:custGeom>
            <a:avLst/>
            <a:gdLst>
              <a:gd name="connsiteX0" fmla="*/ 4338640 w 6329363"/>
              <a:gd name="connsiteY0" fmla="*/ 0 h 8928100"/>
              <a:gd name="connsiteX1" fmla="*/ 4424363 w 6329363"/>
              <a:gd name="connsiteY1" fmla="*/ 0 h 8928100"/>
              <a:gd name="connsiteX2" fmla="*/ 4432301 w 6329363"/>
              <a:gd name="connsiteY2" fmla="*/ 0 h 8928100"/>
              <a:gd name="connsiteX3" fmla="*/ 6329363 w 6329363"/>
              <a:gd name="connsiteY3" fmla="*/ 0 h 8928100"/>
              <a:gd name="connsiteX4" fmla="*/ 6329363 w 6329363"/>
              <a:gd name="connsiteY4" fmla="*/ 8928099 h 8928100"/>
              <a:gd name="connsiteX5" fmla="*/ 4432342 w 6329363"/>
              <a:gd name="connsiteY5" fmla="*/ 8928099 h 8928100"/>
              <a:gd name="connsiteX6" fmla="*/ 4432300 w 6329363"/>
              <a:gd name="connsiteY6" fmla="*/ 8928100 h 8928100"/>
              <a:gd name="connsiteX7" fmla="*/ 4424363 w 6329363"/>
              <a:gd name="connsiteY7" fmla="*/ 8928099 h 8928100"/>
              <a:gd name="connsiteX8" fmla="*/ 4338640 w 6329363"/>
              <a:gd name="connsiteY8" fmla="*/ 8928099 h 8928100"/>
              <a:gd name="connsiteX9" fmla="*/ 4338640 w 6329363"/>
              <a:gd name="connsiteY9" fmla="*/ 8925912 h 8928100"/>
              <a:gd name="connsiteX10" fmla="*/ 4196686 w 6329363"/>
              <a:gd name="connsiteY10" fmla="*/ 8922290 h 8928100"/>
              <a:gd name="connsiteX11" fmla="*/ 5757 w 6329363"/>
              <a:gd name="connsiteY11" fmla="*/ 4693769 h 8928100"/>
              <a:gd name="connsiteX12" fmla="*/ 0 w 6329363"/>
              <a:gd name="connsiteY12" fmla="*/ 4464050 h 8928100"/>
              <a:gd name="connsiteX13" fmla="*/ 5757 w 6329363"/>
              <a:gd name="connsiteY13" fmla="*/ 4234331 h 8928100"/>
              <a:gd name="connsiteX14" fmla="*/ 4196686 w 6329363"/>
              <a:gd name="connsiteY14" fmla="*/ 5809 h 8928100"/>
              <a:gd name="connsiteX15" fmla="*/ 4338640 w 6329363"/>
              <a:gd name="connsiteY15" fmla="*/ 2188 h 8928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329363" h="8928100">
                <a:moveTo>
                  <a:pt x="4338640" y="0"/>
                </a:moveTo>
                <a:lnTo>
                  <a:pt x="4424363" y="0"/>
                </a:lnTo>
                <a:lnTo>
                  <a:pt x="4432301" y="0"/>
                </a:lnTo>
                <a:lnTo>
                  <a:pt x="6329363" y="0"/>
                </a:lnTo>
                <a:lnTo>
                  <a:pt x="6329363" y="8928099"/>
                </a:lnTo>
                <a:lnTo>
                  <a:pt x="4432342" y="8928099"/>
                </a:lnTo>
                <a:cubicBezTo>
                  <a:pt x="4432328" y="8928099"/>
                  <a:pt x="4432314" y="8928100"/>
                  <a:pt x="4432300" y="8928100"/>
                </a:cubicBezTo>
                <a:lnTo>
                  <a:pt x="4424363" y="8928099"/>
                </a:lnTo>
                <a:lnTo>
                  <a:pt x="4338640" y="8928099"/>
                </a:lnTo>
                <a:lnTo>
                  <a:pt x="4338640" y="8925912"/>
                </a:lnTo>
                <a:lnTo>
                  <a:pt x="4196686" y="8922290"/>
                </a:lnTo>
                <a:cubicBezTo>
                  <a:pt x="1934396" y="8806586"/>
                  <a:pt x="120433" y="6976353"/>
                  <a:pt x="5757" y="4693769"/>
                </a:cubicBezTo>
                <a:lnTo>
                  <a:pt x="0" y="4464050"/>
                </a:lnTo>
                <a:lnTo>
                  <a:pt x="5757" y="4234331"/>
                </a:lnTo>
                <a:cubicBezTo>
                  <a:pt x="120433" y="1951748"/>
                  <a:pt x="1934396" y="121514"/>
                  <a:pt x="4196686" y="5809"/>
                </a:cubicBezTo>
                <a:lnTo>
                  <a:pt x="4338640" y="21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r">
              <a:buNone/>
              <a:defRPr sz="2800"/>
            </a:lvl1pPr>
          </a:lstStyle>
          <a:p>
            <a:r>
              <a:rPr lang="en-US" dirty="0" smtClean="0"/>
              <a:t>Click for imag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327672"/>
            <a:ext cx="2291850" cy="156929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9294093"/>
            <a:ext cx="3539872" cy="681878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387850" y="9156700"/>
            <a:ext cx="3539873" cy="0"/>
          </a:xfrm>
          <a:prstGeom prst="line">
            <a:avLst/>
          </a:prstGeom>
          <a:ln w="28575">
            <a:solidFill>
              <a:srgbClr val="1D3769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2601" y="590430"/>
            <a:ext cx="1043781" cy="1043781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87850" y="7226300"/>
            <a:ext cx="3540125" cy="17399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/>
            </a:lvl1pPr>
          </a:lstStyle>
          <a:p>
            <a:r>
              <a:rPr lang="en-US" dirty="0" smtClean="0"/>
              <a:t>Click for logo</a:t>
            </a:r>
            <a:r>
              <a:rPr lang="el-GR" dirty="0" smtClean="0"/>
              <a:t> &amp; </a:t>
            </a:r>
            <a:r>
              <a:rPr lang="en-US" dirty="0" smtClean="0"/>
              <a:t>make it</a:t>
            </a:r>
            <a:br>
              <a:rPr lang="en-US" dirty="0" smtClean="0"/>
            </a:br>
            <a:r>
              <a:rPr lang="en-US" dirty="0" smtClean="0"/>
              <a:t>fit in the crop bo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1285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al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/>
          <p:nvPr userDrawn="1"/>
        </p:nvSpPr>
        <p:spPr>
          <a:xfrm rot="10800000">
            <a:off x="3870246" y="581362"/>
            <a:ext cx="6418341" cy="9125864"/>
          </a:xfrm>
          <a:custGeom>
            <a:avLst/>
            <a:gdLst>
              <a:gd name="connsiteX0" fmla="*/ 1871662 w 6672262"/>
              <a:gd name="connsiteY0" fmla="*/ 9486900 h 9486900"/>
              <a:gd name="connsiteX1" fmla="*/ 0 w 6672262"/>
              <a:gd name="connsiteY1" fmla="*/ 9486900 h 9486900"/>
              <a:gd name="connsiteX2" fmla="*/ 0 w 6672262"/>
              <a:gd name="connsiteY2" fmla="*/ 0 h 9486900"/>
              <a:gd name="connsiteX3" fmla="*/ 1871662 w 6672262"/>
              <a:gd name="connsiteY3" fmla="*/ 0 h 9486900"/>
              <a:gd name="connsiteX4" fmla="*/ 6672262 w 6672262"/>
              <a:gd name="connsiteY4" fmla="*/ 4743450 h 9486900"/>
              <a:gd name="connsiteX5" fmla="*/ 1871662 w 6672262"/>
              <a:gd name="connsiteY5" fmla="*/ 9486900 h 948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72262" h="9486900">
                <a:moveTo>
                  <a:pt x="1871662" y="9486900"/>
                </a:moveTo>
                <a:lnTo>
                  <a:pt x="0" y="9486900"/>
                </a:lnTo>
                <a:lnTo>
                  <a:pt x="0" y="0"/>
                </a:lnTo>
                <a:lnTo>
                  <a:pt x="1871662" y="0"/>
                </a:lnTo>
                <a:cubicBezTo>
                  <a:pt x="4522960" y="0"/>
                  <a:pt x="6672262" y="2123715"/>
                  <a:pt x="6672262" y="4743450"/>
                </a:cubicBezTo>
                <a:cubicBezTo>
                  <a:pt x="6672262" y="7363185"/>
                  <a:pt x="4522960" y="9486900"/>
                  <a:pt x="1871662" y="9486900"/>
                </a:cubicBezTo>
                <a:close/>
              </a:path>
            </a:pathLst>
          </a:custGeom>
          <a:noFill/>
          <a:ln w="6350">
            <a:solidFill>
              <a:srgbClr val="EF40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200098" y="850129"/>
            <a:ext cx="6088491" cy="8588330"/>
          </a:xfrm>
          <a:custGeom>
            <a:avLst/>
            <a:gdLst>
              <a:gd name="connsiteX0" fmla="*/ 4338640 w 6329363"/>
              <a:gd name="connsiteY0" fmla="*/ 0 h 8928100"/>
              <a:gd name="connsiteX1" fmla="*/ 4424363 w 6329363"/>
              <a:gd name="connsiteY1" fmla="*/ 0 h 8928100"/>
              <a:gd name="connsiteX2" fmla="*/ 4432301 w 6329363"/>
              <a:gd name="connsiteY2" fmla="*/ 0 h 8928100"/>
              <a:gd name="connsiteX3" fmla="*/ 6329363 w 6329363"/>
              <a:gd name="connsiteY3" fmla="*/ 0 h 8928100"/>
              <a:gd name="connsiteX4" fmla="*/ 6329363 w 6329363"/>
              <a:gd name="connsiteY4" fmla="*/ 8928099 h 8928100"/>
              <a:gd name="connsiteX5" fmla="*/ 4432342 w 6329363"/>
              <a:gd name="connsiteY5" fmla="*/ 8928099 h 8928100"/>
              <a:gd name="connsiteX6" fmla="*/ 4432300 w 6329363"/>
              <a:gd name="connsiteY6" fmla="*/ 8928100 h 8928100"/>
              <a:gd name="connsiteX7" fmla="*/ 4424363 w 6329363"/>
              <a:gd name="connsiteY7" fmla="*/ 8928099 h 8928100"/>
              <a:gd name="connsiteX8" fmla="*/ 4338640 w 6329363"/>
              <a:gd name="connsiteY8" fmla="*/ 8928099 h 8928100"/>
              <a:gd name="connsiteX9" fmla="*/ 4338640 w 6329363"/>
              <a:gd name="connsiteY9" fmla="*/ 8925912 h 8928100"/>
              <a:gd name="connsiteX10" fmla="*/ 4196686 w 6329363"/>
              <a:gd name="connsiteY10" fmla="*/ 8922290 h 8928100"/>
              <a:gd name="connsiteX11" fmla="*/ 5757 w 6329363"/>
              <a:gd name="connsiteY11" fmla="*/ 4693769 h 8928100"/>
              <a:gd name="connsiteX12" fmla="*/ 0 w 6329363"/>
              <a:gd name="connsiteY12" fmla="*/ 4464050 h 8928100"/>
              <a:gd name="connsiteX13" fmla="*/ 5757 w 6329363"/>
              <a:gd name="connsiteY13" fmla="*/ 4234331 h 8928100"/>
              <a:gd name="connsiteX14" fmla="*/ 4196686 w 6329363"/>
              <a:gd name="connsiteY14" fmla="*/ 5809 h 8928100"/>
              <a:gd name="connsiteX15" fmla="*/ 4338640 w 6329363"/>
              <a:gd name="connsiteY15" fmla="*/ 2188 h 8928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329363" h="8928100">
                <a:moveTo>
                  <a:pt x="4338640" y="0"/>
                </a:moveTo>
                <a:lnTo>
                  <a:pt x="4424363" y="0"/>
                </a:lnTo>
                <a:lnTo>
                  <a:pt x="4432301" y="0"/>
                </a:lnTo>
                <a:lnTo>
                  <a:pt x="6329363" y="0"/>
                </a:lnTo>
                <a:lnTo>
                  <a:pt x="6329363" y="8928099"/>
                </a:lnTo>
                <a:lnTo>
                  <a:pt x="4432342" y="8928099"/>
                </a:lnTo>
                <a:cubicBezTo>
                  <a:pt x="4432328" y="8928099"/>
                  <a:pt x="4432314" y="8928100"/>
                  <a:pt x="4432300" y="8928100"/>
                </a:cubicBezTo>
                <a:lnTo>
                  <a:pt x="4424363" y="8928099"/>
                </a:lnTo>
                <a:lnTo>
                  <a:pt x="4338640" y="8928099"/>
                </a:lnTo>
                <a:lnTo>
                  <a:pt x="4338640" y="8925912"/>
                </a:lnTo>
                <a:lnTo>
                  <a:pt x="4196686" y="8922290"/>
                </a:lnTo>
                <a:cubicBezTo>
                  <a:pt x="1934396" y="8806586"/>
                  <a:pt x="120433" y="6976353"/>
                  <a:pt x="5757" y="4693769"/>
                </a:cubicBezTo>
                <a:lnTo>
                  <a:pt x="0" y="4464050"/>
                </a:lnTo>
                <a:lnTo>
                  <a:pt x="5757" y="4234331"/>
                </a:lnTo>
                <a:cubicBezTo>
                  <a:pt x="120433" y="1951748"/>
                  <a:pt x="1934396" y="121514"/>
                  <a:pt x="4196686" y="5809"/>
                </a:cubicBezTo>
                <a:lnTo>
                  <a:pt x="4338640" y="21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r">
              <a:buNone/>
              <a:defRPr sz="2800"/>
            </a:lvl1pPr>
          </a:lstStyle>
          <a:p>
            <a:r>
              <a:rPr lang="en-US" dirty="0" smtClean="0"/>
              <a:t>Click for imag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327672"/>
            <a:ext cx="2291850" cy="156929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9294093"/>
            <a:ext cx="3539872" cy="681878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387850" y="9156700"/>
            <a:ext cx="3539873" cy="0"/>
          </a:xfrm>
          <a:prstGeom prst="line">
            <a:avLst/>
          </a:prstGeom>
          <a:ln w="28575">
            <a:solidFill>
              <a:srgbClr val="1D3769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2601" y="590430"/>
            <a:ext cx="1043781" cy="1043781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87850" y="7226300"/>
            <a:ext cx="3540125" cy="17399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/>
            </a:lvl1pPr>
          </a:lstStyle>
          <a:p>
            <a:r>
              <a:rPr lang="en-US" dirty="0" smtClean="0"/>
              <a:t>Click for logo</a:t>
            </a:r>
            <a:r>
              <a:rPr lang="el-GR" dirty="0" smtClean="0"/>
              <a:t> &amp; </a:t>
            </a:r>
            <a:r>
              <a:rPr lang="en-US" dirty="0" smtClean="0"/>
              <a:t>make it</a:t>
            </a:r>
            <a:br>
              <a:rPr lang="en-US" dirty="0" smtClean="0"/>
            </a:br>
            <a:r>
              <a:rPr lang="en-US" dirty="0" smtClean="0"/>
              <a:t>fit in the crop bo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6882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al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/>
          <p:nvPr userDrawn="1"/>
        </p:nvSpPr>
        <p:spPr>
          <a:xfrm rot="10800000">
            <a:off x="3870246" y="581362"/>
            <a:ext cx="6418341" cy="9125864"/>
          </a:xfrm>
          <a:custGeom>
            <a:avLst/>
            <a:gdLst>
              <a:gd name="connsiteX0" fmla="*/ 1871662 w 6672262"/>
              <a:gd name="connsiteY0" fmla="*/ 9486900 h 9486900"/>
              <a:gd name="connsiteX1" fmla="*/ 0 w 6672262"/>
              <a:gd name="connsiteY1" fmla="*/ 9486900 h 9486900"/>
              <a:gd name="connsiteX2" fmla="*/ 0 w 6672262"/>
              <a:gd name="connsiteY2" fmla="*/ 0 h 9486900"/>
              <a:gd name="connsiteX3" fmla="*/ 1871662 w 6672262"/>
              <a:gd name="connsiteY3" fmla="*/ 0 h 9486900"/>
              <a:gd name="connsiteX4" fmla="*/ 6672262 w 6672262"/>
              <a:gd name="connsiteY4" fmla="*/ 4743450 h 9486900"/>
              <a:gd name="connsiteX5" fmla="*/ 1871662 w 6672262"/>
              <a:gd name="connsiteY5" fmla="*/ 9486900 h 948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72262" h="9486900">
                <a:moveTo>
                  <a:pt x="1871662" y="9486900"/>
                </a:moveTo>
                <a:lnTo>
                  <a:pt x="0" y="9486900"/>
                </a:lnTo>
                <a:lnTo>
                  <a:pt x="0" y="0"/>
                </a:lnTo>
                <a:lnTo>
                  <a:pt x="1871662" y="0"/>
                </a:lnTo>
                <a:cubicBezTo>
                  <a:pt x="4522960" y="0"/>
                  <a:pt x="6672262" y="2123715"/>
                  <a:pt x="6672262" y="4743450"/>
                </a:cubicBezTo>
                <a:cubicBezTo>
                  <a:pt x="6672262" y="7363185"/>
                  <a:pt x="4522960" y="9486900"/>
                  <a:pt x="1871662" y="9486900"/>
                </a:cubicBezTo>
                <a:close/>
              </a:path>
            </a:pathLst>
          </a:custGeom>
          <a:noFill/>
          <a:ln w="6350">
            <a:solidFill>
              <a:srgbClr val="27BF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200098" y="850129"/>
            <a:ext cx="6088491" cy="8588330"/>
          </a:xfrm>
          <a:custGeom>
            <a:avLst/>
            <a:gdLst>
              <a:gd name="connsiteX0" fmla="*/ 4338640 w 6329363"/>
              <a:gd name="connsiteY0" fmla="*/ 0 h 8928100"/>
              <a:gd name="connsiteX1" fmla="*/ 4424363 w 6329363"/>
              <a:gd name="connsiteY1" fmla="*/ 0 h 8928100"/>
              <a:gd name="connsiteX2" fmla="*/ 4432301 w 6329363"/>
              <a:gd name="connsiteY2" fmla="*/ 0 h 8928100"/>
              <a:gd name="connsiteX3" fmla="*/ 6329363 w 6329363"/>
              <a:gd name="connsiteY3" fmla="*/ 0 h 8928100"/>
              <a:gd name="connsiteX4" fmla="*/ 6329363 w 6329363"/>
              <a:gd name="connsiteY4" fmla="*/ 8928099 h 8928100"/>
              <a:gd name="connsiteX5" fmla="*/ 4432342 w 6329363"/>
              <a:gd name="connsiteY5" fmla="*/ 8928099 h 8928100"/>
              <a:gd name="connsiteX6" fmla="*/ 4432300 w 6329363"/>
              <a:gd name="connsiteY6" fmla="*/ 8928100 h 8928100"/>
              <a:gd name="connsiteX7" fmla="*/ 4424363 w 6329363"/>
              <a:gd name="connsiteY7" fmla="*/ 8928099 h 8928100"/>
              <a:gd name="connsiteX8" fmla="*/ 4338640 w 6329363"/>
              <a:gd name="connsiteY8" fmla="*/ 8928099 h 8928100"/>
              <a:gd name="connsiteX9" fmla="*/ 4338640 w 6329363"/>
              <a:gd name="connsiteY9" fmla="*/ 8925912 h 8928100"/>
              <a:gd name="connsiteX10" fmla="*/ 4196686 w 6329363"/>
              <a:gd name="connsiteY10" fmla="*/ 8922290 h 8928100"/>
              <a:gd name="connsiteX11" fmla="*/ 5757 w 6329363"/>
              <a:gd name="connsiteY11" fmla="*/ 4693769 h 8928100"/>
              <a:gd name="connsiteX12" fmla="*/ 0 w 6329363"/>
              <a:gd name="connsiteY12" fmla="*/ 4464050 h 8928100"/>
              <a:gd name="connsiteX13" fmla="*/ 5757 w 6329363"/>
              <a:gd name="connsiteY13" fmla="*/ 4234331 h 8928100"/>
              <a:gd name="connsiteX14" fmla="*/ 4196686 w 6329363"/>
              <a:gd name="connsiteY14" fmla="*/ 5809 h 8928100"/>
              <a:gd name="connsiteX15" fmla="*/ 4338640 w 6329363"/>
              <a:gd name="connsiteY15" fmla="*/ 2188 h 8928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329363" h="8928100">
                <a:moveTo>
                  <a:pt x="4338640" y="0"/>
                </a:moveTo>
                <a:lnTo>
                  <a:pt x="4424363" y="0"/>
                </a:lnTo>
                <a:lnTo>
                  <a:pt x="4432301" y="0"/>
                </a:lnTo>
                <a:lnTo>
                  <a:pt x="6329363" y="0"/>
                </a:lnTo>
                <a:lnTo>
                  <a:pt x="6329363" y="8928099"/>
                </a:lnTo>
                <a:lnTo>
                  <a:pt x="4432342" y="8928099"/>
                </a:lnTo>
                <a:cubicBezTo>
                  <a:pt x="4432328" y="8928099"/>
                  <a:pt x="4432314" y="8928100"/>
                  <a:pt x="4432300" y="8928100"/>
                </a:cubicBezTo>
                <a:lnTo>
                  <a:pt x="4424363" y="8928099"/>
                </a:lnTo>
                <a:lnTo>
                  <a:pt x="4338640" y="8928099"/>
                </a:lnTo>
                <a:lnTo>
                  <a:pt x="4338640" y="8925912"/>
                </a:lnTo>
                <a:lnTo>
                  <a:pt x="4196686" y="8922290"/>
                </a:lnTo>
                <a:cubicBezTo>
                  <a:pt x="1934396" y="8806586"/>
                  <a:pt x="120433" y="6976353"/>
                  <a:pt x="5757" y="4693769"/>
                </a:cubicBezTo>
                <a:lnTo>
                  <a:pt x="0" y="4464050"/>
                </a:lnTo>
                <a:lnTo>
                  <a:pt x="5757" y="4234331"/>
                </a:lnTo>
                <a:cubicBezTo>
                  <a:pt x="120433" y="1951748"/>
                  <a:pt x="1934396" y="121514"/>
                  <a:pt x="4196686" y="5809"/>
                </a:cubicBezTo>
                <a:lnTo>
                  <a:pt x="4338640" y="21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r">
              <a:buNone/>
              <a:defRPr sz="2800"/>
            </a:lvl1pPr>
          </a:lstStyle>
          <a:p>
            <a:r>
              <a:rPr lang="en-US" dirty="0" smtClean="0"/>
              <a:t>Click for imag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327672"/>
            <a:ext cx="2291850" cy="156929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9294093"/>
            <a:ext cx="3539872" cy="681878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387850" y="9156700"/>
            <a:ext cx="3539873" cy="0"/>
          </a:xfrm>
          <a:prstGeom prst="line">
            <a:avLst/>
          </a:prstGeom>
          <a:ln w="28575">
            <a:solidFill>
              <a:srgbClr val="1D3769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2601" y="590430"/>
            <a:ext cx="1043781" cy="1043781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87850" y="7226300"/>
            <a:ext cx="3540125" cy="17399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/>
            </a:lvl1pPr>
          </a:lstStyle>
          <a:p>
            <a:r>
              <a:rPr lang="en-US" dirty="0" smtClean="0"/>
              <a:t>Click for logo</a:t>
            </a:r>
            <a:r>
              <a:rPr lang="el-GR" dirty="0" smtClean="0"/>
              <a:t> &amp; </a:t>
            </a:r>
            <a:r>
              <a:rPr lang="en-US" dirty="0" smtClean="0"/>
              <a:t>make it</a:t>
            </a:r>
            <a:br>
              <a:rPr lang="en-US" dirty="0" smtClean="0"/>
            </a:br>
            <a:r>
              <a:rPr lang="en-US" dirty="0" smtClean="0"/>
              <a:t>fit in the crop bo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83101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al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/>
          <p:nvPr userDrawn="1"/>
        </p:nvSpPr>
        <p:spPr>
          <a:xfrm rot="10800000">
            <a:off x="3870246" y="581362"/>
            <a:ext cx="6418341" cy="9125864"/>
          </a:xfrm>
          <a:custGeom>
            <a:avLst/>
            <a:gdLst>
              <a:gd name="connsiteX0" fmla="*/ 1871662 w 6672262"/>
              <a:gd name="connsiteY0" fmla="*/ 9486900 h 9486900"/>
              <a:gd name="connsiteX1" fmla="*/ 0 w 6672262"/>
              <a:gd name="connsiteY1" fmla="*/ 9486900 h 9486900"/>
              <a:gd name="connsiteX2" fmla="*/ 0 w 6672262"/>
              <a:gd name="connsiteY2" fmla="*/ 0 h 9486900"/>
              <a:gd name="connsiteX3" fmla="*/ 1871662 w 6672262"/>
              <a:gd name="connsiteY3" fmla="*/ 0 h 9486900"/>
              <a:gd name="connsiteX4" fmla="*/ 6672262 w 6672262"/>
              <a:gd name="connsiteY4" fmla="*/ 4743450 h 9486900"/>
              <a:gd name="connsiteX5" fmla="*/ 1871662 w 6672262"/>
              <a:gd name="connsiteY5" fmla="*/ 9486900 h 948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72262" h="9486900">
                <a:moveTo>
                  <a:pt x="1871662" y="9486900"/>
                </a:moveTo>
                <a:lnTo>
                  <a:pt x="0" y="9486900"/>
                </a:lnTo>
                <a:lnTo>
                  <a:pt x="0" y="0"/>
                </a:lnTo>
                <a:lnTo>
                  <a:pt x="1871662" y="0"/>
                </a:lnTo>
                <a:cubicBezTo>
                  <a:pt x="4522960" y="0"/>
                  <a:pt x="6672262" y="2123715"/>
                  <a:pt x="6672262" y="4743450"/>
                </a:cubicBezTo>
                <a:cubicBezTo>
                  <a:pt x="6672262" y="7363185"/>
                  <a:pt x="4522960" y="9486900"/>
                  <a:pt x="1871662" y="9486900"/>
                </a:cubicBezTo>
                <a:close/>
              </a:path>
            </a:pathLst>
          </a:custGeom>
          <a:noFill/>
          <a:ln w="6350">
            <a:solidFill>
              <a:srgbClr val="FBC41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200098" y="850129"/>
            <a:ext cx="6088491" cy="8588330"/>
          </a:xfrm>
          <a:custGeom>
            <a:avLst/>
            <a:gdLst>
              <a:gd name="connsiteX0" fmla="*/ 4338640 w 6329363"/>
              <a:gd name="connsiteY0" fmla="*/ 0 h 8928100"/>
              <a:gd name="connsiteX1" fmla="*/ 4424363 w 6329363"/>
              <a:gd name="connsiteY1" fmla="*/ 0 h 8928100"/>
              <a:gd name="connsiteX2" fmla="*/ 4432301 w 6329363"/>
              <a:gd name="connsiteY2" fmla="*/ 0 h 8928100"/>
              <a:gd name="connsiteX3" fmla="*/ 6329363 w 6329363"/>
              <a:gd name="connsiteY3" fmla="*/ 0 h 8928100"/>
              <a:gd name="connsiteX4" fmla="*/ 6329363 w 6329363"/>
              <a:gd name="connsiteY4" fmla="*/ 8928099 h 8928100"/>
              <a:gd name="connsiteX5" fmla="*/ 4432342 w 6329363"/>
              <a:gd name="connsiteY5" fmla="*/ 8928099 h 8928100"/>
              <a:gd name="connsiteX6" fmla="*/ 4432300 w 6329363"/>
              <a:gd name="connsiteY6" fmla="*/ 8928100 h 8928100"/>
              <a:gd name="connsiteX7" fmla="*/ 4424363 w 6329363"/>
              <a:gd name="connsiteY7" fmla="*/ 8928099 h 8928100"/>
              <a:gd name="connsiteX8" fmla="*/ 4338640 w 6329363"/>
              <a:gd name="connsiteY8" fmla="*/ 8928099 h 8928100"/>
              <a:gd name="connsiteX9" fmla="*/ 4338640 w 6329363"/>
              <a:gd name="connsiteY9" fmla="*/ 8925912 h 8928100"/>
              <a:gd name="connsiteX10" fmla="*/ 4196686 w 6329363"/>
              <a:gd name="connsiteY10" fmla="*/ 8922290 h 8928100"/>
              <a:gd name="connsiteX11" fmla="*/ 5757 w 6329363"/>
              <a:gd name="connsiteY11" fmla="*/ 4693769 h 8928100"/>
              <a:gd name="connsiteX12" fmla="*/ 0 w 6329363"/>
              <a:gd name="connsiteY12" fmla="*/ 4464050 h 8928100"/>
              <a:gd name="connsiteX13" fmla="*/ 5757 w 6329363"/>
              <a:gd name="connsiteY13" fmla="*/ 4234331 h 8928100"/>
              <a:gd name="connsiteX14" fmla="*/ 4196686 w 6329363"/>
              <a:gd name="connsiteY14" fmla="*/ 5809 h 8928100"/>
              <a:gd name="connsiteX15" fmla="*/ 4338640 w 6329363"/>
              <a:gd name="connsiteY15" fmla="*/ 2188 h 8928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329363" h="8928100">
                <a:moveTo>
                  <a:pt x="4338640" y="0"/>
                </a:moveTo>
                <a:lnTo>
                  <a:pt x="4424363" y="0"/>
                </a:lnTo>
                <a:lnTo>
                  <a:pt x="4432301" y="0"/>
                </a:lnTo>
                <a:lnTo>
                  <a:pt x="6329363" y="0"/>
                </a:lnTo>
                <a:lnTo>
                  <a:pt x="6329363" y="8928099"/>
                </a:lnTo>
                <a:lnTo>
                  <a:pt x="4432342" y="8928099"/>
                </a:lnTo>
                <a:cubicBezTo>
                  <a:pt x="4432328" y="8928099"/>
                  <a:pt x="4432314" y="8928100"/>
                  <a:pt x="4432300" y="8928100"/>
                </a:cubicBezTo>
                <a:lnTo>
                  <a:pt x="4424363" y="8928099"/>
                </a:lnTo>
                <a:lnTo>
                  <a:pt x="4338640" y="8928099"/>
                </a:lnTo>
                <a:lnTo>
                  <a:pt x="4338640" y="8925912"/>
                </a:lnTo>
                <a:lnTo>
                  <a:pt x="4196686" y="8922290"/>
                </a:lnTo>
                <a:cubicBezTo>
                  <a:pt x="1934396" y="8806586"/>
                  <a:pt x="120433" y="6976353"/>
                  <a:pt x="5757" y="4693769"/>
                </a:cubicBezTo>
                <a:lnTo>
                  <a:pt x="0" y="4464050"/>
                </a:lnTo>
                <a:lnTo>
                  <a:pt x="5757" y="4234331"/>
                </a:lnTo>
                <a:cubicBezTo>
                  <a:pt x="120433" y="1951748"/>
                  <a:pt x="1934396" y="121514"/>
                  <a:pt x="4196686" y="5809"/>
                </a:cubicBezTo>
                <a:lnTo>
                  <a:pt x="4338640" y="21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r">
              <a:buNone/>
              <a:defRPr sz="2800"/>
            </a:lvl1pPr>
          </a:lstStyle>
          <a:p>
            <a:r>
              <a:rPr lang="en-US" dirty="0" smtClean="0"/>
              <a:t>Click for imag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327672"/>
            <a:ext cx="2291850" cy="156929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9294093"/>
            <a:ext cx="3539872" cy="681878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387850" y="9156700"/>
            <a:ext cx="3539873" cy="0"/>
          </a:xfrm>
          <a:prstGeom prst="line">
            <a:avLst/>
          </a:prstGeom>
          <a:ln w="28575">
            <a:solidFill>
              <a:srgbClr val="1D3769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2601" y="590430"/>
            <a:ext cx="1043781" cy="1043781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87850" y="7226300"/>
            <a:ext cx="3540125" cy="17399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/>
            </a:lvl1pPr>
          </a:lstStyle>
          <a:p>
            <a:r>
              <a:rPr lang="en-US" dirty="0" smtClean="0"/>
              <a:t>Click for logo</a:t>
            </a:r>
            <a:r>
              <a:rPr lang="el-GR" dirty="0" smtClean="0"/>
              <a:t> &amp; </a:t>
            </a:r>
            <a:r>
              <a:rPr lang="en-US" dirty="0" smtClean="0"/>
              <a:t>make it</a:t>
            </a:r>
            <a:br>
              <a:rPr lang="en-US" dirty="0" smtClean="0"/>
            </a:br>
            <a:r>
              <a:rPr lang="en-US" dirty="0" smtClean="0"/>
              <a:t>fit in the crop bo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49464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al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/>
          <p:nvPr userDrawn="1"/>
        </p:nvSpPr>
        <p:spPr>
          <a:xfrm rot="10800000">
            <a:off x="3870246" y="581362"/>
            <a:ext cx="6418341" cy="9125864"/>
          </a:xfrm>
          <a:custGeom>
            <a:avLst/>
            <a:gdLst>
              <a:gd name="connsiteX0" fmla="*/ 1871662 w 6672262"/>
              <a:gd name="connsiteY0" fmla="*/ 9486900 h 9486900"/>
              <a:gd name="connsiteX1" fmla="*/ 0 w 6672262"/>
              <a:gd name="connsiteY1" fmla="*/ 9486900 h 9486900"/>
              <a:gd name="connsiteX2" fmla="*/ 0 w 6672262"/>
              <a:gd name="connsiteY2" fmla="*/ 0 h 9486900"/>
              <a:gd name="connsiteX3" fmla="*/ 1871662 w 6672262"/>
              <a:gd name="connsiteY3" fmla="*/ 0 h 9486900"/>
              <a:gd name="connsiteX4" fmla="*/ 6672262 w 6672262"/>
              <a:gd name="connsiteY4" fmla="*/ 4743450 h 9486900"/>
              <a:gd name="connsiteX5" fmla="*/ 1871662 w 6672262"/>
              <a:gd name="connsiteY5" fmla="*/ 9486900 h 948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72262" h="9486900">
                <a:moveTo>
                  <a:pt x="1871662" y="9486900"/>
                </a:moveTo>
                <a:lnTo>
                  <a:pt x="0" y="9486900"/>
                </a:lnTo>
                <a:lnTo>
                  <a:pt x="0" y="0"/>
                </a:lnTo>
                <a:lnTo>
                  <a:pt x="1871662" y="0"/>
                </a:lnTo>
                <a:cubicBezTo>
                  <a:pt x="4522960" y="0"/>
                  <a:pt x="6672262" y="2123715"/>
                  <a:pt x="6672262" y="4743450"/>
                </a:cubicBezTo>
                <a:cubicBezTo>
                  <a:pt x="6672262" y="7363185"/>
                  <a:pt x="4522960" y="9486900"/>
                  <a:pt x="1871662" y="9486900"/>
                </a:cubicBezTo>
                <a:close/>
              </a:path>
            </a:pathLst>
          </a:custGeom>
          <a:noFill/>
          <a:ln w="6350">
            <a:solidFill>
              <a:srgbClr val="A31C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200098" y="850129"/>
            <a:ext cx="6088491" cy="8588330"/>
          </a:xfrm>
          <a:custGeom>
            <a:avLst/>
            <a:gdLst>
              <a:gd name="connsiteX0" fmla="*/ 4338640 w 6329363"/>
              <a:gd name="connsiteY0" fmla="*/ 0 h 8928100"/>
              <a:gd name="connsiteX1" fmla="*/ 4424363 w 6329363"/>
              <a:gd name="connsiteY1" fmla="*/ 0 h 8928100"/>
              <a:gd name="connsiteX2" fmla="*/ 4432301 w 6329363"/>
              <a:gd name="connsiteY2" fmla="*/ 0 h 8928100"/>
              <a:gd name="connsiteX3" fmla="*/ 6329363 w 6329363"/>
              <a:gd name="connsiteY3" fmla="*/ 0 h 8928100"/>
              <a:gd name="connsiteX4" fmla="*/ 6329363 w 6329363"/>
              <a:gd name="connsiteY4" fmla="*/ 8928099 h 8928100"/>
              <a:gd name="connsiteX5" fmla="*/ 4432342 w 6329363"/>
              <a:gd name="connsiteY5" fmla="*/ 8928099 h 8928100"/>
              <a:gd name="connsiteX6" fmla="*/ 4432300 w 6329363"/>
              <a:gd name="connsiteY6" fmla="*/ 8928100 h 8928100"/>
              <a:gd name="connsiteX7" fmla="*/ 4424363 w 6329363"/>
              <a:gd name="connsiteY7" fmla="*/ 8928099 h 8928100"/>
              <a:gd name="connsiteX8" fmla="*/ 4338640 w 6329363"/>
              <a:gd name="connsiteY8" fmla="*/ 8928099 h 8928100"/>
              <a:gd name="connsiteX9" fmla="*/ 4338640 w 6329363"/>
              <a:gd name="connsiteY9" fmla="*/ 8925912 h 8928100"/>
              <a:gd name="connsiteX10" fmla="*/ 4196686 w 6329363"/>
              <a:gd name="connsiteY10" fmla="*/ 8922290 h 8928100"/>
              <a:gd name="connsiteX11" fmla="*/ 5757 w 6329363"/>
              <a:gd name="connsiteY11" fmla="*/ 4693769 h 8928100"/>
              <a:gd name="connsiteX12" fmla="*/ 0 w 6329363"/>
              <a:gd name="connsiteY12" fmla="*/ 4464050 h 8928100"/>
              <a:gd name="connsiteX13" fmla="*/ 5757 w 6329363"/>
              <a:gd name="connsiteY13" fmla="*/ 4234331 h 8928100"/>
              <a:gd name="connsiteX14" fmla="*/ 4196686 w 6329363"/>
              <a:gd name="connsiteY14" fmla="*/ 5809 h 8928100"/>
              <a:gd name="connsiteX15" fmla="*/ 4338640 w 6329363"/>
              <a:gd name="connsiteY15" fmla="*/ 2188 h 8928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329363" h="8928100">
                <a:moveTo>
                  <a:pt x="4338640" y="0"/>
                </a:moveTo>
                <a:lnTo>
                  <a:pt x="4424363" y="0"/>
                </a:lnTo>
                <a:lnTo>
                  <a:pt x="4432301" y="0"/>
                </a:lnTo>
                <a:lnTo>
                  <a:pt x="6329363" y="0"/>
                </a:lnTo>
                <a:lnTo>
                  <a:pt x="6329363" y="8928099"/>
                </a:lnTo>
                <a:lnTo>
                  <a:pt x="4432342" y="8928099"/>
                </a:lnTo>
                <a:cubicBezTo>
                  <a:pt x="4432328" y="8928099"/>
                  <a:pt x="4432314" y="8928100"/>
                  <a:pt x="4432300" y="8928100"/>
                </a:cubicBezTo>
                <a:lnTo>
                  <a:pt x="4424363" y="8928099"/>
                </a:lnTo>
                <a:lnTo>
                  <a:pt x="4338640" y="8928099"/>
                </a:lnTo>
                <a:lnTo>
                  <a:pt x="4338640" y="8925912"/>
                </a:lnTo>
                <a:lnTo>
                  <a:pt x="4196686" y="8922290"/>
                </a:lnTo>
                <a:cubicBezTo>
                  <a:pt x="1934396" y="8806586"/>
                  <a:pt x="120433" y="6976353"/>
                  <a:pt x="5757" y="4693769"/>
                </a:cubicBezTo>
                <a:lnTo>
                  <a:pt x="0" y="4464050"/>
                </a:lnTo>
                <a:lnTo>
                  <a:pt x="5757" y="4234331"/>
                </a:lnTo>
                <a:cubicBezTo>
                  <a:pt x="120433" y="1951748"/>
                  <a:pt x="1934396" y="121514"/>
                  <a:pt x="4196686" y="5809"/>
                </a:cubicBezTo>
                <a:lnTo>
                  <a:pt x="4338640" y="21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r">
              <a:buNone/>
              <a:defRPr sz="2800"/>
            </a:lvl1pPr>
          </a:lstStyle>
          <a:p>
            <a:r>
              <a:rPr lang="en-US" dirty="0" smtClean="0"/>
              <a:t>Click for imag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327672"/>
            <a:ext cx="2291850" cy="156929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9294093"/>
            <a:ext cx="3539872" cy="681878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387850" y="9156700"/>
            <a:ext cx="3539873" cy="0"/>
          </a:xfrm>
          <a:prstGeom prst="line">
            <a:avLst/>
          </a:prstGeom>
          <a:ln w="28575">
            <a:solidFill>
              <a:srgbClr val="1D3769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2601" y="590430"/>
            <a:ext cx="1043781" cy="1043781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87850" y="7226300"/>
            <a:ext cx="3540125" cy="17399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/>
            </a:lvl1pPr>
          </a:lstStyle>
          <a:p>
            <a:r>
              <a:rPr lang="en-US" dirty="0" smtClean="0"/>
              <a:t>Click for logo</a:t>
            </a:r>
            <a:r>
              <a:rPr lang="el-GR" dirty="0" smtClean="0"/>
              <a:t> &amp; </a:t>
            </a:r>
            <a:r>
              <a:rPr lang="en-US" dirty="0" smtClean="0"/>
              <a:t>make it</a:t>
            </a:r>
            <a:br>
              <a:rPr lang="en-US" dirty="0" smtClean="0"/>
            </a:br>
            <a:r>
              <a:rPr lang="en-US" dirty="0" smtClean="0"/>
              <a:t>fit in the crop bo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25246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al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/>
          <p:nvPr userDrawn="1"/>
        </p:nvSpPr>
        <p:spPr>
          <a:xfrm rot="10800000">
            <a:off x="3870246" y="581362"/>
            <a:ext cx="6418341" cy="9125864"/>
          </a:xfrm>
          <a:custGeom>
            <a:avLst/>
            <a:gdLst>
              <a:gd name="connsiteX0" fmla="*/ 1871662 w 6672262"/>
              <a:gd name="connsiteY0" fmla="*/ 9486900 h 9486900"/>
              <a:gd name="connsiteX1" fmla="*/ 0 w 6672262"/>
              <a:gd name="connsiteY1" fmla="*/ 9486900 h 9486900"/>
              <a:gd name="connsiteX2" fmla="*/ 0 w 6672262"/>
              <a:gd name="connsiteY2" fmla="*/ 0 h 9486900"/>
              <a:gd name="connsiteX3" fmla="*/ 1871662 w 6672262"/>
              <a:gd name="connsiteY3" fmla="*/ 0 h 9486900"/>
              <a:gd name="connsiteX4" fmla="*/ 6672262 w 6672262"/>
              <a:gd name="connsiteY4" fmla="*/ 4743450 h 9486900"/>
              <a:gd name="connsiteX5" fmla="*/ 1871662 w 6672262"/>
              <a:gd name="connsiteY5" fmla="*/ 9486900 h 948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72262" h="9486900">
                <a:moveTo>
                  <a:pt x="1871662" y="9486900"/>
                </a:moveTo>
                <a:lnTo>
                  <a:pt x="0" y="9486900"/>
                </a:lnTo>
                <a:lnTo>
                  <a:pt x="0" y="0"/>
                </a:lnTo>
                <a:lnTo>
                  <a:pt x="1871662" y="0"/>
                </a:lnTo>
                <a:cubicBezTo>
                  <a:pt x="4522960" y="0"/>
                  <a:pt x="6672262" y="2123715"/>
                  <a:pt x="6672262" y="4743450"/>
                </a:cubicBezTo>
                <a:cubicBezTo>
                  <a:pt x="6672262" y="7363185"/>
                  <a:pt x="4522960" y="9486900"/>
                  <a:pt x="1871662" y="9486900"/>
                </a:cubicBezTo>
                <a:close/>
              </a:path>
            </a:pathLst>
          </a:custGeom>
          <a:noFill/>
          <a:ln w="6350">
            <a:solidFill>
              <a:srgbClr val="F26A2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200098" y="850129"/>
            <a:ext cx="6088491" cy="8588330"/>
          </a:xfrm>
          <a:custGeom>
            <a:avLst/>
            <a:gdLst>
              <a:gd name="connsiteX0" fmla="*/ 4338640 w 6329363"/>
              <a:gd name="connsiteY0" fmla="*/ 0 h 8928100"/>
              <a:gd name="connsiteX1" fmla="*/ 4424363 w 6329363"/>
              <a:gd name="connsiteY1" fmla="*/ 0 h 8928100"/>
              <a:gd name="connsiteX2" fmla="*/ 4432301 w 6329363"/>
              <a:gd name="connsiteY2" fmla="*/ 0 h 8928100"/>
              <a:gd name="connsiteX3" fmla="*/ 6329363 w 6329363"/>
              <a:gd name="connsiteY3" fmla="*/ 0 h 8928100"/>
              <a:gd name="connsiteX4" fmla="*/ 6329363 w 6329363"/>
              <a:gd name="connsiteY4" fmla="*/ 8928099 h 8928100"/>
              <a:gd name="connsiteX5" fmla="*/ 4432342 w 6329363"/>
              <a:gd name="connsiteY5" fmla="*/ 8928099 h 8928100"/>
              <a:gd name="connsiteX6" fmla="*/ 4432300 w 6329363"/>
              <a:gd name="connsiteY6" fmla="*/ 8928100 h 8928100"/>
              <a:gd name="connsiteX7" fmla="*/ 4424363 w 6329363"/>
              <a:gd name="connsiteY7" fmla="*/ 8928099 h 8928100"/>
              <a:gd name="connsiteX8" fmla="*/ 4338640 w 6329363"/>
              <a:gd name="connsiteY8" fmla="*/ 8928099 h 8928100"/>
              <a:gd name="connsiteX9" fmla="*/ 4338640 w 6329363"/>
              <a:gd name="connsiteY9" fmla="*/ 8925912 h 8928100"/>
              <a:gd name="connsiteX10" fmla="*/ 4196686 w 6329363"/>
              <a:gd name="connsiteY10" fmla="*/ 8922290 h 8928100"/>
              <a:gd name="connsiteX11" fmla="*/ 5757 w 6329363"/>
              <a:gd name="connsiteY11" fmla="*/ 4693769 h 8928100"/>
              <a:gd name="connsiteX12" fmla="*/ 0 w 6329363"/>
              <a:gd name="connsiteY12" fmla="*/ 4464050 h 8928100"/>
              <a:gd name="connsiteX13" fmla="*/ 5757 w 6329363"/>
              <a:gd name="connsiteY13" fmla="*/ 4234331 h 8928100"/>
              <a:gd name="connsiteX14" fmla="*/ 4196686 w 6329363"/>
              <a:gd name="connsiteY14" fmla="*/ 5809 h 8928100"/>
              <a:gd name="connsiteX15" fmla="*/ 4338640 w 6329363"/>
              <a:gd name="connsiteY15" fmla="*/ 2188 h 8928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329363" h="8928100">
                <a:moveTo>
                  <a:pt x="4338640" y="0"/>
                </a:moveTo>
                <a:lnTo>
                  <a:pt x="4424363" y="0"/>
                </a:lnTo>
                <a:lnTo>
                  <a:pt x="4432301" y="0"/>
                </a:lnTo>
                <a:lnTo>
                  <a:pt x="6329363" y="0"/>
                </a:lnTo>
                <a:lnTo>
                  <a:pt x="6329363" y="8928099"/>
                </a:lnTo>
                <a:lnTo>
                  <a:pt x="4432342" y="8928099"/>
                </a:lnTo>
                <a:cubicBezTo>
                  <a:pt x="4432328" y="8928099"/>
                  <a:pt x="4432314" y="8928100"/>
                  <a:pt x="4432300" y="8928100"/>
                </a:cubicBezTo>
                <a:lnTo>
                  <a:pt x="4424363" y="8928099"/>
                </a:lnTo>
                <a:lnTo>
                  <a:pt x="4338640" y="8928099"/>
                </a:lnTo>
                <a:lnTo>
                  <a:pt x="4338640" y="8925912"/>
                </a:lnTo>
                <a:lnTo>
                  <a:pt x="4196686" y="8922290"/>
                </a:lnTo>
                <a:cubicBezTo>
                  <a:pt x="1934396" y="8806586"/>
                  <a:pt x="120433" y="6976353"/>
                  <a:pt x="5757" y="4693769"/>
                </a:cubicBezTo>
                <a:lnTo>
                  <a:pt x="0" y="4464050"/>
                </a:lnTo>
                <a:lnTo>
                  <a:pt x="5757" y="4234331"/>
                </a:lnTo>
                <a:cubicBezTo>
                  <a:pt x="120433" y="1951748"/>
                  <a:pt x="1934396" y="121514"/>
                  <a:pt x="4196686" y="5809"/>
                </a:cubicBezTo>
                <a:lnTo>
                  <a:pt x="4338640" y="21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r">
              <a:buNone/>
              <a:defRPr sz="2800"/>
            </a:lvl1pPr>
          </a:lstStyle>
          <a:p>
            <a:r>
              <a:rPr lang="en-US" dirty="0" smtClean="0"/>
              <a:t>Click for imag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327672"/>
            <a:ext cx="2291850" cy="156929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850" y="9294093"/>
            <a:ext cx="3539872" cy="681878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387850" y="9156700"/>
            <a:ext cx="3539873" cy="0"/>
          </a:xfrm>
          <a:prstGeom prst="line">
            <a:avLst/>
          </a:prstGeom>
          <a:ln w="28575">
            <a:solidFill>
              <a:srgbClr val="1D3769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2601" y="590430"/>
            <a:ext cx="1043781" cy="1043781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387850" y="7226300"/>
            <a:ext cx="3540125" cy="17399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/>
            </a:lvl1pPr>
          </a:lstStyle>
          <a:p>
            <a:r>
              <a:rPr lang="en-US" dirty="0" smtClean="0"/>
              <a:t>Click for logo</a:t>
            </a:r>
            <a:r>
              <a:rPr lang="el-GR" dirty="0" smtClean="0"/>
              <a:t> &amp; </a:t>
            </a:r>
            <a:r>
              <a:rPr lang="en-US" dirty="0" smtClean="0"/>
              <a:t>make it</a:t>
            </a:r>
            <a:br>
              <a:rPr lang="en-US" dirty="0" smtClean="0"/>
            </a:br>
            <a:r>
              <a:rPr lang="en-US" dirty="0" smtClean="0"/>
              <a:t>fit in the crop bo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77062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1463;MIO_UPDATE=True;MIO_VERSION=29.09.2015 09:24:53;MIO_DBID=13AFE5B2-300B-4455-88B7-51C17E0F218E;MIO_LASTDOWNLOADED=06.11.2015 16:21:51;MIO_OBJECTNAME=Master Office Theme;MIO_LASTEDITORNAME=Karsten Borgman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mpower - DO NOT DELETE!!!" hidden="1"/>
          <p:cNvSpPr/>
          <p:nvPr userDrawn="1">
            <p:custDataLst>
              <p:tags r:id="rId19"/>
            </p:custDataLst>
          </p:nvPr>
        </p:nvSpPr>
        <p:spPr>
          <a:xfrm>
            <a:off x="-1071728" y="-1905294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14"/>
          </a:p>
        </p:txBody>
      </p:sp>
    </p:spTree>
    <p:extLst>
      <p:ext uri="{BB962C8B-B14F-4D97-AF65-F5344CB8AC3E}">
        <p14:creationId xmlns:p14="http://schemas.microsoft.com/office/powerpoint/2010/main" val="779548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3" r:id="rId17"/>
  </p:sldLayoutIdLst>
  <p:timing>
    <p:tnLst>
      <p:par>
        <p:cTn id="1" dur="indefinite" restart="never" nodeType="tmRoot"/>
      </p:par>
    </p:tnLst>
  </p:timing>
  <p:hf hdr="0"/>
  <p:txStyles>
    <p:titleStyle>
      <a:lvl1pPr algn="l" defTabSz="574543" rtl="0" eaLnBrk="1" latinLnBrk="0" hangingPunct="1">
        <a:lnSpc>
          <a:spcPct val="90000"/>
        </a:lnSpc>
        <a:spcBef>
          <a:spcPct val="0"/>
        </a:spcBef>
        <a:buNone/>
        <a:defRPr sz="2011" b="0" kern="1200" baseline="0">
          <a:solidFill>
            <a:schemeClr val="tx1"/>
          </a:solidFill>
          <a:latin typeface="+mj-lt"/>
          <a:ea typeface="+mj-ea"/>
          <a:cs typeface="Calibri" panose="020F0502020204030204" pitchFamily="34" charset="0"/>
        </a:defRPr>
      </a:lvl1pPr>
    </p:titleStyle>
    <p:bodyStyle>
      <a:lvl1pPr marL="143636" indent="-143636" algn="l" defTabSz="574543" rtl="0" eaLnBrk="1" latinLnBrk="0" hangingPunct="1">
        <a:lnSpc>
          <a:spcPct val="100000"/>
        </a:lnSpc>
        <a:spcBef>
          <a:spcPts val="628"/>
        </a:spcBef>
        <a:buClr>
          <a:schemeClr val="tx1"/>
        </a:buClr>
        <a:buFont typeface="Arial" panose="020B0604020202020204" pitchFamily="34" charset="0"/>
        <a:buChar char="•"/>
        <a:defRPr sz="1131" kern="1200">
          <a:solidFill>
            <a:schemeClr val="tx1"/>
          </a:solidFill>
          <a:latin typeface="+mj-lt"/>
          <a:ea typeface="+mn-ea"/>
          <a:cs typeface="+mn-cs"/>
        </a:defRPr>
      </a:lvl1pPr>
      <a:lvl2pPr marL="430907" indent="-143636" algn="l" defTabSz="574543" rtl="0" eaLnBrk="1" latinLnBrk="0" hangingPunct="1">
        <a:lnSpc>
          <a:spcPct val="100000"/>
        </a:lnSpc>
        <a:spcBef>
          <a:spcPts val="314"/>
        </a:spcBef>
        <a:buClr>
          <a:schemeClr val="tx1"/>
        </a:buClr>
        <a:buFont typeface="Arial" panose="020B0604020202020204" pitchFamily="34" charset="0"/>
        <a:buChar char="•"/>
        <a:defRPr sz="1131" kern="1200">
          <a:solidFill>
            <a:schemeClr val="tx1"/>
          </a:solidFill>
          <a:latin typeface="+mj-lt"/>
          <a:ea typeface="+mn-ea"/>
          <a:cs typeface="+mn-cs"/>
        </a:defRPr>
      </a:lvl2pPr>
      <a:lvl3pPr marL="718177" indent="-143636" algn="l" defTabSz="574543" rtl="0" eaLnBrk="1" latinLnBrk="0" hangingPunct="1">
        <a:lnSpc>
          <a:spcPct val="100000"/>
        </a:lnSpc>
        <a:spcBef>
          <a:spcPts val="314"/>
        </a:spcBef>
        <a:buClr>
          <a:schemeClr val="tx1"/>
        </a:buClr>
        <a:buFont typeface="Arial" panose="020B0604020202020204" pitchFamily="34" charset="0"/>
        <a:buChar char="•"/>
        <a:defRPr sz="1131" kern="1200">
          <a:solidFill>
            <a:schemeClr val="tx1"/>
          </a:solidFill>
          <a:latin typeface="+mj-lt"/>
          <a:ea typeface="+mn-ea"/>
          <a:cs typeface="+mn-cs"/>
        </a:defRPr>
      </a:lvl3pPr>
      <a:lvl4pPr marL="1005449" indent="-143636" algn="l" defTabSz="574543" rtl="0" eaLnBrk="1" latinLnBrk="0" hangingPunct="1">
        <a:lnSpc>
          <a:spcPct val="100000"/>
        </a:lnSpc>
        <a:spcBef>
          <a:spcPts val="314"/>
        </a:spcBef>
        <a:buClr>
          <a:schemeClr val="tx1"/>
        </a:buClr>
        <a:buFont typeface="Arial" panose="020B0604020202020204" pitchFamily="34" charset="0"/>
        <a:buChar char="•"/>
        <a:defRPr sz="1131" kern="1200">
          <a:solidFill>
            <a:schemeClr val="tx1"/>
          </a:solidFill>
          <a:latin typeface="+mj-lt"/>
          <a:ea typeface="+mn-ea"/>
          <a:cs typeface="+mn-cs"/>
        </a:defRPr>
      </a:lvl4pPr>
      <a:lvl5pPr marL="1292720" indent="-143636" algn="l" defTabSz="574543" rtl="0" eaLnBrk="1" latinLnBrk="0" hangingPunct="1">
        <a:lnSpc>
          <a:spcPct val="100000"/>
        </a:lnSpc>
        <a:spcBef>
          <a:spcPts val="314"/>
        </a:spcBef>
        <a:buClrTx/>
        <a:buFont typeface="Arial" panose="020B0604020202020204" pitchFamily="34" charset="0"/>
        <a:buChar char="•"/>
        <a:defRPr sz="1131" kern="1200">
          <a:solidFill>
            <a:schemeClr val="tx1"/>
          </a:solidFill>
          <a:latin typeface="+mj-lt"/>
          <a:ea typeface="+mn-ea"/>
          <a:cs typeface="+mn-cs"/>
        </a:defRPr>
      </a:lvl5pPr>
      <a:lvl6pPr marL="1579991" indent="-143636" algn="l" defTabSz="574543" rtl="0" eaLnBrk="1" latinLnBrk="0" hangingPunct="1">
        <a:lnSpc>
          <a:spcPct val="90000"/>
        </a:lnSpc>
        <a:spcBef>
          <a:spcPts val="314"/>
        </a:spcBef>
        <a:buFont typeface="Arial" panose="020B0604020202020204" pitchFamily="34" charset="0"/>
        <a:buChar char="•"/>
        <a:defRPr sz="1131" kern="1200">
          <a:solidFill>
            <a:schemeClr val="tx1"/>
          </a:solidFill>
          <a:latin typeface="+mn-lt"/>
          <a:ea typeface="+mn-ea"/>
          <a:cs typeface="+mn-cs"/>
        </a:defRPr>
      </a:lvl6pPr>
      <a:lvl7pPr marL="1867262" indent="-143636" algn="l" defTabSz="574543" rtl="0" eaLnBrk="1" latinLnBrk="0" hangingPunct="1">
        <a:lnSpc>
          <a:spcPct val="90000"/>
        </a:lnSpc>
        <a:spcBef>
          <a:spcPts val="314"/>
        </a:spcBef>
        <a:buFont typeface="Arial" panose="020B0604020202020204" pitchFamily="34" charset="0"/>
        <a:buChar char="•"/>
        <a:defRPr sz="1131" kern="1200">
          <a:solidFill>
            <a:schemeClr val="tx1"/>
          </a:solidFill>
          <a:latin typeface="+mn-lt"/>
          <a:ea typeface="+mn-ea"/>
          <a:cs typeface="+mn-cs"/>
        </a:defRPr>
      </a:lvl7pPr>
      <a:lvl8pPr marL="2154532" indent="-143636" algn="l" defTabSz="574543" rtl="0" eaLnBrk="1" latinLnBrk="0" hangingPunct="1">
        <a:lnSpc>
          <a:spcPct val="90000"/>
        </a:lnSpc>
        <a:spcBef>
          <a:spcPts val="314"/>
        </a:spcBef>
        <a:buFont typeface="Arial" panose="020B0604020202020204" pitchFamily="34" charset="0"/>
        <a:buChar char="•"/>
        <a:defRPr sz="1131" kern="1200">
          <a:solidFill>
            <a:schemeClr val="tx1"/>
          </a:solidFill>
          <a:latin typeface="+mn-lt"/>
          <a:ea typeface="+mn-ea"/>
          <a:cs typeface="+mn-cs"/>
        </a:defRPr>
      </a:lvl8pPr>
      <a:lvl9pPr marL="2441803" indent="-143636" algn="l" defTabSz="574543" rtl="0" eaLnBrk="1" latinLnBrk="0" hangingPunct="1">
        <a:lnSpc>
          <a:spcPct val="90000"/>
        </a:lnSpc>
        <a:spcBef>
          <a:spcPts val="314"/>
        </a:spcBef>
        <a:buFont typeface="Arial" panose="020B0604020202020204" pitchFamily="34" charset="0"/>
        <a:buChar char="•"/>
        <a:defRPr sz="113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74543" rtl="0" eaLnBrk="1" latinLnBrk="0" hangingPunct="1">
        <a:defRPr sz="1131" kern="1200">
          <a:solidFill>
            <a:schemeClr val="tx1"/>
          </a:solidFill>
          <a:latin typeface="+mn-lt"/>
          <a:ea typeface="+mn-ea"/>
          <a:cs typeface="+mn-cs"/>
        </a:defRPr>
      </a:lvl1pPr>
      <a:lvl2pPr marL="287271" algn="l" defTabSz="574543" rtl="0" eaLnBrk="1" latinLnBrk="0" hangingPunct="1">
        <a:defRPr sz="1131" kern="1200">
          <a:solidFill>
            <a:schemeClr val="tx1"/>
          </a:solidFill>
          <a:latin typeface="+mn-lt"/>
          <a:ea typeface="+mn-ea"/>
          <a:cs typeface="+mn-cs"/>
        </a:defRPr>
      </a:lvl2pPr>
      <a:lvl3pPr marL="574543" algn="l" defTabSz="574543" rtl="0" eaLnBrk="1" latinLnBrk="0" hangingPunct="1">
        <a:defRPr sz="1131" kern="1200">
          <a:solidFill>
            <a:schemeClr val="tx1"/>
          </a:solidFill>
          <a:latin typeface="+mn-lt"/>
          <a:ea typeface="+mn-ea"/>
          <a:cs typeface="+mn-cs"/>
        </a:defRPr>
      </a:lvl3pPr>
      <a:lvl4pPr marL="861813" algn="l" defTabSz="574543" rtl="0" eaLnBrk="1" latinLnBrk="0" hangingPunct="1">
        <a:defRPr sz="1131" kern="1200">
          <a:solidFill>
            <a:schemeClr val="tx1"/>
          </a:solidFill>
          <a:latin typeface="+mn-lt"/>
          <a:ea typeface="+mn-ea"/>
          <a:cs typeface="+mn-cs"/>
        </a:defRPr>
      </a:lvl4pPr>
      <a:lvl5pPr marL="1149084" algn="l" defTabSz="574543" rtl="0" eaLnBrk="1" latinLnBrk="0" hangingPunct="1">
        <a:defRPr sz="1131" kern="1200">
          <a:solidFill>
            <a:schemeClr val="tx1"/>
          </a:solidFill>
          <a:latin typeface="+mn-lt"/>
          <a:ea typeface="+mn-ea"/>
          <a:cs typeface="+mn-cs"/>
        </a:defRPr>
      </a:lvl5pPr>
      <a:lvl6pPr marL="1436355" algn="l" defTabSz="574543" rtl="0" eaLnBrk="1" latinLnBrk="0" hangingPunct="1">
        <a:defRPr sz="1131" kern="1200">
          <a:solidFill>
            <a:schemeClr val="tx1"/>
          </a:solidFill>
          <a:latin typeface="+mn-lt"/>
          <a:ea typeface="+mn-ea"/>
          <a:cs typeface="+mn-cs"/>
        </a:defRPr>
      </a:lvl6pPr>
      <a:lvl7pPr marL="1723626" algn="l" defTabSz="574543" rtl="0" eaLnBrk="1" latinLnBrk="0" hangingPunct="1">
        <a:defRPr sz="1131" kern="1200">
          <a:solidFill>
            <a:schemeClr val="tx1"/>
          </a:solidFill>
          <a:latin typeface="+mn-lt"/>
          <a:ea typeface="+mn-ea"/>
          <a:cs typeface="+mn-cs"/>
        </a:defRPr>
      </a:lvl7pPr>
      <a:lvl8pPr marL="2010897" algn="l" defTabSz="574543" rtl="0" eaLnBrk="1" latinLnBrk="0" hangingPunct="1">
        <a:defRPr sz="1131" kern="1200">
          <a:solidFill>
            <a:schemeClr val="tx1"/>
          </a:solidFill>
          <a:latin typeface="+mn-lt"/>
          <a:ea typeface="+mn-ea"/>
          <a:cs typeface="+mn-cs"/>
        </a:defRPr>
      </a:lvl8pPr>
      <a:lvl9pPr marL="2298169" algn="l" defTabSz="574543" rtl="0" eaLnBrk="1" latinLnBrk="0" hangingPunct="1">
        <a:defRPr sz="113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6481" userDrawn="1">
          <p15:clr>
            <a:srgbClr val="F26B43"/>
          </p15:clr>
        </p15:guide>
        <p15:guide id="3" orient="horz" pos="224" userDrawn="1">
          <p15:clr>
            <a:srgbClr val="F26B43"/>
          </p15:clr>
        </p15:guide>
        <p15:guide id="4" pos="6257" userDrawn="1">
          <p15:clr>
            <a:srgbClr val="F26B43"/>
          </p15:clr>
        </p15:guide>
        <p15:guide id="7" orient="horz" pos="6257" userDrawn="1">
          <p15:clr>
            <a:srgbClr val="F26B43"/>
          </p15:clr>
        </p15:guide>
        <p15:guide id="8" orient="horz" userDrawn="1">
          <p15:clr>
            <a:srgbClr val="F26B43"/>
          </p15:clr>
        </p15:guide>
        <p15:guide id="9" pos="224" userDrawn="1">
          <p15:clr>
            <a:srgbClr val="F26B43"/>
          </p15:clr>
        </p15:guide>
        <p15:guide id="12" pos="1630" userDrawn="1">
          <p15:clr>
            <a:srgbClr val="F26B43"/>
          </p15:clr>
        </p15:guide>
        <p15:guide id="15" pos="4851" userDrawn="1">
          <p15:clr>
            <a:srgbClr val="F26B43"/>
          </p15:clr>
        </p15:guide>
        <p15:guide id="16" pos="3127" userDrawn="1">
          <p15:clr>
            <a:srgbClr val="F26B43"/>
          </p15:clr>
        </p15:guide>
        <p15:guide id="17" pos="3354" userDrawn="1">
          <p15:clr>
            <a:srgbClr val="F26B43"/>
          </p15:clr>
        </p15:guide>
        <p15:guide id="18" pos="3241" userDrawn="1">
          <p15:clr>
            <a:srgbClr val="F26B43"/>
          </p15:clr>
        </p15:guide>
        <p15:guide id="19" orient="horz" pos="3241" userDrawn="1">
          <p15:clr>
            <a:srgbClr val="F26B43"/>
          </p15:clr>
        </p15:guide>
        <p15:guide id="20" orient="horz" pos="1334" userDrawn="1">
          <p15:clr>
            <a:srgbClr val="F26B43"/>
          </p15:clr>
        </p15:guide>
        <p15:guide id="21" orient="horz" pos="1539" userDrawn="1">
          <p15:clr>
            <a:srgbClr val="F26B43"/>
          </p15:clr>
        </p15:guide>
        <p15:guide id="22" pos="6030" userDrawn="1">
          <p15:clr>
            <a:srgbClr val="F26B43"/>
          </p15:clr>
        </p15:guide>
        <p15:guide id="23" orient="horz" pos="451" userDrawn="1">
          <p15:clr>
            <a:srgbClr val="F26B43"/>
          </p15:clr>
        </p15:guide>
        <p15:guide id="24" orient="horz" pos="6030" userDrawn="1">
          <p15:clr>
            <a:srgbClr val="F26B43"/>
          </p15:clr>
        </p15:guide>
        <p15:guide id="25" pos="45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B3C2D6-98D7-2040-B8AD-C67FCF2E409C}"/>
              </a:ext>
            </a:extLst>
          </p:cNvPr>
          <p:cNvSpPr txBox="1">
            <a:spLocks/>
          </p:cNvSpPr>
          <p:nvPr/>
        </p:nvSpPr>
        <p:spPr>
          <a:xfrm>
            <a:off x="466726" y="3477499"/>
            <a:ext cx="6985000" cy="3113801"/>
          </a:xfrm>
          <a:prstGeom prst="rect">
            <a:avLst/>
          </a:prstGeom>
        </p:spPr>
        <p:txBody>
          <a:bodyPr vert="horz" lIns="0" tIns="60766" rIns="0" bIns="60766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rem ipsum </a:t>
            </a:r>
            <a:r>
              <a:rPr lang="en-US" sz="5400" dirty="0" smtClean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lor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 smtClean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t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me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5400" dirty="0" err="1" smtClean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ctetur</a:t>
            </a:r>
            <a:endParaRPr lang="en-US" sz="5400" dirty="0" smtClean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 err="1" smtClean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ipiscing</a:t>
            </a:r>
            <a:r>
              <a:rPr lang="en-US" sz="5400" dirty="0" smtClean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it</a:t>
            </a:r>
            <a:r>
              <a:rPr lang="en-US" sz="5400" dirty="0" smtClean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95498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B3C2D6-98D7-2040-B8AD-C67FCF2E409C}"/>
              </a:ext>
            </a:extLst>
          </p:cNvPr>
          <p:cNvSpPr txBox="1">
            <a:spLocks/>
          </p:cNvSpPr>
          <p:nvPr/>
        </p:nvSpPr>
        <p:spPr>
          <a:xfrm>
            <a:off x="466726" y="3477499"/>
            <a:ext cx="6985000" cy="3113801"/>
          </a:xfrm>
          <a:prstGeom prst="rect">
            <a:avLst/>
          </a:prstGeom>
        </p:spPr>
        <p:txBody>
          <a:bodyPr vert="horz" lIns="0" tIns="60766" rIns="0" bIns="60766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rem ipsum dolor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t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me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ctetur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ipiscing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i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14697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B3C2D6-98D7-2040-B8AD-C67FCF2E409C}"/>
              </a:ext>
            </a:extLst>
          </p:cNvPr>
          <p:cNvSpPr txBox="1">
            <a:spLocks/>
          </p:cNvSpPr>
          <p:nvPr/>
        </p:nvSpPr>
        <p:spPr>
          <a:xfrm>
            <a:off x="466726" y="3477499"/>
            <a:ext cx="6985000" cy="3113801"/>
          </a:xfrm>
          <a:prstGeom prst="rect">
            <a:avLst/>
          </a:prstGeom>
        </p:spPr>
        <p:txBody>
          <a:bodyPr vert="horz" lIns="0" tIns="60766" rIns="0" bIns="60766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rem ipsum dolor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t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me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ctetur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ipiscing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i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53272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B3C2D6-98D7-2040-B8AD-C67FCF2E409C}"/>
              </a:ext>
            </a:extLst>
          </p:cNvPr>
          <p:cNvSpPr txBox="1">
            <a:spLocks/>
          </p:cNvSpPr>
          <p:nvPr/>
        </p:nvSpPr>
        <p:spPr>
          <a:xfrm>
            <a:off x="466726" y="3477499"/>
            <a:ext cx="6985000" cy="3113801"/>
          </a:xfrm>
          <a:prstGeom prst="rect">
            <a:avLst/>
          </a:prstGeom>
        </p:spPr>
        <p:txBody>
          <a:bodyPr vert="horz" lIns="0" tIns="60766" rIns="0" bIns="60766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rem ipsum dolor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t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me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ctetur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ipiscing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i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98430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B3C2D6-98D7-2040-B8AD-C67FCF2E409C}"/>
              </a:ext>
            </a:extLst>
          </p:cNvPr>
          <p:cNvSpPr txBox="1">
            <a:spLocks/>
          </p:cNvSpPr>
          <p:nvPr/>
        </p:nvSpPr>
        <p:spPr>
          <a:xfrm>
            <a:off x="466726" y="3477499"/>
            <a:ext cx="6985000" cy="3113801"/>
          </a:xfrm>
          <a:prstGeom prst="rect">
            <a:avLst/>
          </a:prstGeom>
        </p:spPr>
        <p:txBody>
          <a:bodyPr vert="horz" lIns="0" tIns="60766" rIns="0" bIns="60766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rem ipsum dolor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t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me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ctetur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ipiscing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i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16961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B3C2D6-98D7-2040-B8AD-C67FCF2E409C}"/>
              </a:ext>
            </a:extLst>
          </p:cNvPr>
          <p:cNvSpPr txBox="1">
            <a:spLocks/>
          </p:cNvSpPr>
          <p:nvPr/>
        </p:nvSpPr>
        <p:spPr>
          <a:xfrm>
            <a:off x="466726" y="3477499"/>
            <a:ext cx="6985000" cy="3113801"/>
          </a:xfrm>
          <a:prstGeom prst="rect">
            <a:avLst/>
          </a:prstGeom>
        </p:spPr>
        <p:txBody>
          <a:bodyPr vert="horz" lIns="0" tIns="60766" rIns="0" bIns="60766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rem ipsum dolor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t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me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ctetur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ipiscing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i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22083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B3C2D6-98D7-2040-B8AD-C67FCF2E409C}"/>
              </a:ext>
            </a:extLst>
          </p:cNvPr>
          <p:cNvSpPr txBox="1">
            <a:spLocks/>
          </p:cNvSpPr>
          <p:nvPr/>
        </p:nvSpPr>
        <p:spPr>
          <a:xfrm>
            <a:off x="466726" y="3477499"/>
            <a:ext cx="6985000" cy="3113801"/>
          </a:xfrm>
          <a:prstGeom prst="rect">
            <a:avLst/>
          </a:prstGeom>
        </p:spPr>
        <p:txBody>
          <a:bodyPr vert="horz" lIns="0" tIns="60766" rIns="0" bIns="60766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rem ipsum dolor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t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me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ctetur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ipiscing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i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80834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B3C2D6-98D7-2040-B8AD-C67FCF2E409C}"/>
              </a:ext>
            </a:extLst>
          </p:cNvPr>
          <p:cNvSpPr txBox="1">
            <a:spLocks/>
          </p:cNvSpPr>
          <p:nvPr/>
        </p:nvSpPr>
        <p:spPr>
          <a:xfrm>
            <a:off x="466726" y="3477499"/>
            <a:ext cx="6985000" cy="3113801"/>
          </a:xfrm>
          <a:prstGeom prst="rect">
            <a:avLst/>
          </a:prstGeom>
        </p:spPr>
        <p:txBody>
          <a:bodyPr vert="horz" lIns="0" tIns="60766" rIns="0" bIns="60766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rem ipsum dolor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t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me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ctetur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ipiscing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i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97052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B3C2D6-98D7-2040-B8AD-C67FCF2E409C}"/>
              </a:ext>
            </a:extLst>
          </p:cNvPr>
          <p:cNvSpPr txBox="1">
            <a:spLocks/>
          </p:cNvSpPr>
          <p:nvPr/>
        </p:nvSpPr>
        <p:spPr>
          <a:xfrm>
            <a:off x="466726" y="3477499"/>
            <a:ext cx="6985000" cy="3113801"/>
          </a:xfrm>
          <a:prstGeom prst="rect">
            <a:avLst/>
          </a:prstGeom>
        </p:spPr>
        <p:txBody>
          <a:bodyPr vert="horz" lIns="0" tIns="60766" rIns="0" bIns="60766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rem ipsum dolor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t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me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ctetur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ipiscing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i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18217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/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B3C2D6-98D7-2040-B8AD-C67FCF2E409C}"/>
              </a:ext>
            </a:extLst>
          </p:cNvPr>
          <p:cNvSpPr txBox="1">
            <a:spLocks/>
          </p:cNvSpPr>
          <p:nvPr/>
        </p:nvSpPr>
        <p:spPr>
          <a:xfrm>
            <a:off x="466726" y="3477499"/>
            <a:ext cx="6985000" cy="3113801"/>
          </a:xfrm>
          <a:prstGeom prst="rect">
            <a:avLst/>
          </a:prstGeom>
        </p:spPr>
        <p:txBody>
          <a:bodyPr vert="horz" lIns="0" tIns="60766" rIns="0" bIns="60766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rem ipsum dolor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t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me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ctetur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ipiscing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i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9626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B3C2D6-98D7-2040-B8AD-C67FCF2E409C}"/>
              </a:ext>
            </a:extLst>
          </p:cNvPr>
          <p:cNvSpPr txBox="1">
            <a:spLocks/>
          </p:cNvSpPr>
          <p:nvPr/>
        </p:nvSpPr>
        <p:spPr>
          <a:xfrm>
            <a:off x="466726" y="3477499"/>
            <a:ext cx="6985000" cy="3113801"/>
          </a:xfrm>
          <a:prstGeom prst="rect">
            <a:avLst/>
          </a:prstGeom>
        </p:spPr>
        <p:txBody>
          <a:bodyPr vert="horz" lIns="0" tIns="60766" rIns="0" bIns="60766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rem ipsum dolor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t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me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ctetur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ipiscing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i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2125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B3C2D6-98D7-2040-B8AD-C67FCF2E409C}"/>
              </a:ext>
            </a:extLst>
          </p:cNvPr>
          <p:cNvSpPr txBox="1">
            <a:spLocks/>
          </p:cNvSpPr>
          <p:nvPr/>
        </p:nvSpPr>
        <p:spPr>
          <a:xfrm>
            <a:off x="466726" y="3477499"/>
            <a:ext cx="6985000" cy="3113801"/>
          </a:xfrm>
          <a:prstGeom prst="rect">
            <a:avLst/>
          </a:prstGeom>
        </p:spPr>
        <p:txBody>
          <a:bodyPr vert="horz" lIns="0" tIns="60766" rIns="0" bIns="60766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rem ipsum dolor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t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me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ctetur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ipiscing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i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96926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B3C2D6-98D7-2040-B8AD-C67FCF2E409C}"/>
              </a:ext>
            </a:extLst>
          </p:cNvPr>
          <p:cNvSpPr txBox="1">
            <a:spLocks/>
          </p:cNvSpPr>
          <p:nvPr/>
        </p:nvSpPr>
        <p:spPr>
          <a:xfrm>
            <a:off x="466726" y="3477499"/>
            <a:ext cx="6985000" cy="3113801"/>
          </a:xfrm>
          <a:prstGeom prst="rect">
            <a:avLst/>
          </a:prstGeom>
        </p:spPr>
        <p:txBody>
          <a:bodyPr vert="horz" lIns="0" tIns="60766" rIns="0" bIns="60766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rem ipsum dolor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t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me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ctetur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ipiscing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i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05783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B3C2D6-98D7-2040-B8AD-C67FCF2E409C}"/>
              </a:ext>
            </a:extLst>
          </p:cNvPr>
          <p:cNvSpPr txBox="1">
            <a:spLocks/>
          </p:cNvSpPr>
          <p:nvPr/>
        </p:nvSpPr>
        <p:spPr>
          <a:xfrm>
            <a:off x="466726" y="3477499"/>
            <a:ext cx="6985000" cy="3113801"/>
          </a:xfrm>
          <a:prstGeom prst="rect">
            <a:avLst/>
          </a:prstGeom>
        </p:spPr>
        <p:txBody>
          <a:bodyPr vert="horz" lIns="0" tIns="60766" rIns="0" bIns="60766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rem ipsum dolor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t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me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ctetur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ipiscing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i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74165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B3C2D6-98D7-2040-B8AD-C67FCF2E409C}"/>
              </a:ext>
            </a:extLst>
          </p:cNvPr>
          <p:cNvSpPr txBox="1">
            <a:spLocks/>
          </p:cNvSpPr>
          <p:nvPr/>
        </p:nvSpPr>
        <p:spPr>
          <a:xfrm>
            <a:off x="466726" y="3477499"/>
            <a:ext cx="6985000" cy="3113801"/>
          </a:xfrm>
          <a:prstGeom prst="rect">
            <a:avLst/>
          </a:prstGeom>
        </p:spPr>
        <p:txBody>
          <a:bodyPr vert="horz" lIns="0" tIns="60766" rIns="0" bIns="60766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rem ipsum dolor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t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me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ctetur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ipiscing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i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25381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B3C2D6-98D7-2040-B8AD-C67FCF2E409C}"/>
              </a:ext>
            </a:extLst>
          </p:cNvPr>
          <p:cNvSpPr txBox="1">
            <a:spLocks/>
          </p:cNvSpPr>
          <p:nvPr/>
        </p:nvSpPr>
        <p:spPr>
          <a:xfrm>
            <a:off x="466726" y="3477499"/>
            <a:ext cx="6985000" cy="3113801"/>
          </a:xfrm>
          <a:prstGeom prst="rect">
            <a:avLst/>
          </a:prstGeom>
        </p:spPr>
        <p:txBody>
          <a:bodyPr vert="horz" lIns="0" tIns="60766" rIns="0" bIns="60766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rem ipsum dolor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t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me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ctetur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ipiscing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i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21473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B3C2D6-98D7-2040-B8AD-C67FCF2E409C}"/>
              </a:ext>
            </a:extLst>
          </p:cNvPr>
          <p:cNvSpPr txBox="1">
            <a:spLocks/>
          </p:cNvSpPr>
          <p:nvPr/>
        </p:nvSpPr>
        <p:spPr>
          <a:xfrm>
            <a:off x="466726" y="3477499"/>
            <a:ext cx="6985000" cy="3113801"/>
          </a:xfrm>
          <a:prstGeom prst="rect">
            <a:avLst/>
          </a:prstGeom>
        </p:spPr>
        <p:txBody>
          <a:bodyPr vert="horz" lIns="0" tIns="60766" rIns="0" bIns="60766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rem ipsum dolor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t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me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ctetur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ipiscing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5400" dirty="0" err="1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it</a:t>
            </a:r>
            <a:r>
              <a:rPr lang="en-US" sz="5400" dirty="0">
                <a:highlight>
                  <a:srgbClr val="C0C0C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5400" dirty="0">
              <a:highlight>
                <a:srgbClr val="C0C0C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68162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ST_COLOR_1" val="24,38,66,Dark 1"/>
  <p:tag name="MIO_MST_COLOR_2" val="255,255,255,Light 1"/>
  <p:tag name="MIO_MST_COLOR_3" val="0,155,116,Dark 2"/>
  <p:tag name="MIO_MST_COLOR_4" val="255,255,255,Light 2"/>
  <p:tag name="MIO_MST_COLOR_5" val="40,122,185,Accent 1"/>
  <p:tag name="MIO_MST_COLOR_6" val="231,133,35,Accent 2"/>
  <p:tag name="MIO_MST_COLOR_7" val="253,184,22,Accent 3"/>
  <p:tag name="MIO_MST_COLOR_8" val="9,160,219,Accent 4"/>
  <p:tag name="MIO_MST_COLOR_9" val="133,206,63,Accent 5"/>
  <p:tag name="MIO_MST_COLOR_10" val="99,192,185,Accent 6"/>
  <p:tag name="MIO_MST_COLOR_11" val="15,160,219,"/>
  <p:tag name="MIO_MST_COLOR_12" val="11,120,164,"/>
  <p:tag name="MIO_PRESI_FIRST_SLIDENUMBER" val="1"/>
  <p:tag name="MIO_HDS" val="True"/>
  <p:tag name="MIO_EK" val="1463"/>
  <p:tag name="MIO_UPDATE" val="True"/>
  <p:tag name="MIO_VERSION" val="29.09.2015 09:24:53"/>
  <p:tag name="MIO_DBID" val="13AFE5B2-300B-4455-88B7-51C17E0F218E"/>
  <p:tag name="MIO_LASTDOWNLOADED" val="06.11.2015 16:21:51"/>
  <p:tag name="MIO_OBJECTNAME" val="Master Office Theme"/>
  <p:tag name="MIO_LASTEDITORNAME" val="Karsten Borgmann"/>
</p:tagLst>
</file>

<file path=ppt/theme/theme1.xml><?xml version="1.0" encoding="utf-8"?>
<a:theme xmlns:a="http://schemas.openxmlformats.org/drawingml/2006/main" name="1_Office Theme">
  <a:themeElements>
    <a:clrScheme name="CareerBuilder Rebrand 2015">
      <a:dk1>
        <a:srgbClr val="182642"/>
      </a:dk1>
      <a:lt1>
        <a:sysClr val="window" lastClr="FFFFFF"/>
      </a:lt1>
      <a:dk2>
        <a:srgbClr val="009B74"/>
      </a:dk2>
      <a:lt2>
        <a:srgbClr val="FFFFFF"/>
      </a:lt2>
      <a:accent1>
        <a:srgbClr val="287AB9"/>
      </a:accent1>
      <a:accent2>
        <a:srgbClr val="E78523"/>
      </a:accent2>
      <a:accent3>
        <a:srgbClr val="FDB816"/>
      </a:accent3>
      <a:accent4>
        <a:srgbClr val="09A0DB"/>
      </a:accent4>
      <a:accent5>
        <a:srgbClr val="85CE3F"/>
      </a:accent5>
      <a:accent6>
        <a:srgbClr val="63C0B9"/>
      </a:accent6>
      <a:hlink>
        <a:srgbClr val="0FA0DB"/>
      </a:hlink>
      <a:folHlink>
        <a:srgbClr val="0B78A4"/>
      </a:folHlink>
    </a:clrScheme>
    <a:fontScheme name="CareerBuilder Rebrand 2015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Glossy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12700" cap="flat" cmpd="sng" algn="ctr">
          <a:solidFill>
            <a:schemeClr val="phClr">
              <a:tint val="95000"/>
              <a:shade val="95000"/>
              <a:satMod val="120000"/>
            </a:schemeClr>
          </a:solidFill>
          <a:prstDash val="solid"/>
        </a:ln>
        <a:ln w="55000" cap="flat" cmpd="thickThin" algn="ctr">
          <a:solidFill>
            <a:schemeClr val="phClr">
              <a:tint val="90000"/>
              <a:satMod val="130000"/>
            </a:schemeClr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CareerBuidlerMasterTemplate [Read-Only]" id="{E20D20E4-0B2E-40AE-A846-8C2129997C00}" vid="{BE34257F-BC4E-4BFF-98D3-DCBEF388719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9F027A494B8384FB6D156E9AFB3E6BC" ma:contentTypeVersion="12" ma:contentTypeDescription="Create a new document." ma:contentTypeScope="" ma:versionID="c234e3377769c047c6231f401a4f313b">
  <xsd:schema xmlns:xsd="http://www.w3.org/2001/XMLSchema" xmlns:xs="http://www.w3.org/2001/XMLSchema" xmlns:p="http://schemas.microsoft.com/office/2006/metadata/properties" xmlns:ns2="094ec046-14f0-440d-85ed-d9c721d6f156" xmlns:ns3="03095050-fa55-4b5a-85ff-4a036295d9a3" targetNamespace="http://schemas.microsoft.com/office/2006/metadata/properties" ma:root="true" ma:fieldsID="754ab0017823cc568b96f5458ba55e87" ns2:_="" ns3:_="">
    <xsd:import namespace="094ec046-14f0-440d-85ed-d9c721d6f156"/>
    <xsd:import namespace="03095050-fa55-4b5a-85ff-4a036295d9a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4ec046-14f0-440d-85ed-d9c721d6f15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095050-fa55-4b5a-85ff-4a036295d9a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03095050-fa55-4b5a-85ff-4a036295d9a3">
      <UserInfo>
        <DisplayName>Zerina Spahic</DisplayName>
        <AccountId>83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B66AF2C3-7BE1-4743-82EB-C9742BAE49D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4ec046-14f0-440d-85ed-d9c721d6f156"/>
    <ds:schemaRef ds:uri="03095050-fa55-4b5a-85ff-4a036295d9a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31E9AB6-AF22-4CD9-970E-1F70455C9A3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3EA3065-C2CA-4216-9495-6B15B0B4DE0C}">
  <ds:schemaRefs>
    <ds:schemaRef ds:uri="http://purl.org/dc/terms/"/>
    <ds:schemaRef ds:uri="03095050-fa55-4b5a-85ff-4a036295d9a3"/>
    <ds:schemaRef ds:uri="http://purl.org/dc/dcmitype/"/>
    <ds:schemaRef ds:uri="094ec046-14f0-440d-85ed-d9c721d6f156"/>
    <ds:schemaRef ds:uri="http://purl.org/dc/elements/1.1/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areerBuilderMasterTemplate</Template>
  <TotalTime>1996</TotalTime>
  <Words>170</Words>
  <Application>Microsoft Office PowerPoint</Application>
  <PresentationFormat>Custom</PresentationFormat>
  <Paragraphs>51</Paragraphs>
  <Slides>1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2" baseType="lpstr">
      <vt:lpstr>Arial</vt:lpstr>
      <vt:lpstr>Calibri</vt:lpstr>
      <vt:lpstr>Calibri Light</vt:lpstr>
      <vt:lpstr>Times New Roman</vt:lpstr>
      <vt:lpstr>1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sse Dekker</dc:creator>
  <cp:lastModifiedBy>Moschoula Strevlou</cp:lastModifiedBy>
  <cp:revision>160</cp:revision>
  <dcterms:created xsi:type="dcterms:W3CDTF">2020-04-07T14:55:53Z</dcterms:created>
  <dcterms:modified xsi:type="dcterms:W3CDTF">2020-09-03T08:07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9F027A494B8384FB6D156E9AFB3E6BC</vt:lpwstr>
  </property>
</Properties>
</file>